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84" r:id="rId3"/>
  </p:sldMasterIdLst>
  <p:notesMasterIdLst>
    <p:notesMasterId r:id="rId15"/>
  </p:notesMasterIdLst>
  <p:sldIdLst>
    <p:sldId id="1043" r:id="rId4"/>
    <p:sldId id="2147376108" r:id="rId5"/>
    <p:sldId id="2147376109" r:id="rId6"/>
    <p:sldId id="2147376101" r:id="rId7"/>
    <p:sldId id="2147376103" r:id="rId8"/>
    <p:sldId id="2147376105" r:id="rId9"/>
    <p:sldId id="2147376102" r:id="rId10"/>
    <p:sldId id="2147376106" r:id="rId11"/>
    <p:sldId id="2147376107" r:id="rId12"/>
    <p:sldId id="2147373557" r:id="rId13"/>
    <p:sldId id="2147373539"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72936"/>
    <a:srgbClr val="00B2A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D8B593-4C2C-4CB9-826D-B4E86314D082}" v="104" dt="2023-08-17T11:21:53.1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1" d="100"/>
          <a:sy n="61" d="100"/>
        </p:scale>
        <p:origin x="432" y="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21" Type="http://schemas.microsoft.com/office/2015/10/relationships/revisionInfo" Target="revisionInfo.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tish, Nitin" userId="f2ecb18b-41e0-4ce1-8908-feb500df1510" providerId="ADAL" clId="{3DD8B593-4C2C-4CB9-826D-B4E86314D082}"/>
    <pc:docChg chg="undo redo custSel addSld delSld modSld sldOrd">
      <pc:chgData name="Satish, Nitin" userId="f2ecb18b-41e0-4ce1-8908-feb500df1510" providerId="ADAL" clId="{3DD8B593-4C2C-4CB9-826D-B4E86314D082}" dt="2023-08-30T14:28:06.854" v="1525" actId="1076"/>
      <pc:docMkLst>
        <pc:docMk/>
      </pc:docMkLst>
      <pc:sldChg chg="addSp delSp modSp new del mod ord setBg">
        <pc:chgData name="Satish, Nitin" userId="f2ecb18b-41e0-4ce1-8908-feb500df1510" providerId="ADAL" clId="{3DD8B593-4C2C-4CB9-826D-B4E86314D082}" dt="2023-08-17T08:37:02.667" v="891" actId="47"/>
        <pc:sldMkLst>
          <pc:docMk/>
          <pc:sldMk cId="1467978256" sldId="256"/>
        </pc:sldMkLst>
        <pc:spChg chg="del mod">
          <ac:chgData name="Satish, Nitin" userId="f2ecb18b-41e0-4ce1-8908-feb500df1510" providerId="ADAL" clId="{3DD8B593-4C2C-4CB9-826D-B4E86314D082}" dt="2023-08-17T05:46:57.016" v="53" actId="478"/>
          <ac:spMkLst>
            <pc:docMk/>
            <pc:sldMk cId="1467978256" sldId="256"/>
            <ac:spMk id="2" creationId="{467FC72E-0CA3-9707-946C-5A6CC24D8592}"/>
          </ac:spMkLst>
        </pc:spChg>
        <pc:spChg chg="del">
          <ac:chgData name="Satish, Nitin" userId="f2ecb18b-41e0-4ce1-8908-feb500df1510" providerId="ADAL" clId="{3DD8B593-4C2C-4CB9-826D-B4E86314D082}" dt="2023-08-17T05:46:59.426" v="54" actId="478"/>
          <ac:spMkLst>
            <pc:docMk/>
            <pc:sldMk cId="1467978256" sldId="256"/>
            <ac:spMk id="3" creationId="{80EE2B84-C136-7CF1-B692-C870A4AAAFFA}"/>
          </ac:spMkLst>
        </pc:spChg>
        <pc:spChg chg="add mod">
          <ac:chgData name="Satish, Nitin" userId="f2ecb18b-41e0-4ce1-8908-feb500df1510" providerId="ADAL" clId="{3DD8B593-4C2C-4CB9-826D-B4E86314D082}" dt="2023-08-17T05:47:25.277" v="58" actId="208"/>
          <ac:spMkLst>
            <pc:docMk/>
            <pc:sldMk cId="1467978256" sldId="256"/>
            <ac:spMk id="5" creationId="{3ACBC9A2-75A7-C8EF-68ED-531DF1C36A06}"/>
          </ac:spMkLst>
        </pc:spChg>
        <pc:spChg chg="add mod">
          <ac:chgData name="Satish, Nitin" userId="f2ecb18b-41e0-4ce1-8908-feb500df1510" providerId="ADAL" clId="{3DD8B593-4C2C-4CB9-826D-B4E86314D082}" dt="2023-08-17T06:07:38.510" v="195" actId="208"/>
          <ac:spMkLst>
            <pc:docMk/>
            <pc:sldMk cId="1467978256" sldId="256"/>
            <ac:spMk id="6" creationId="{39279461-A127-1A5E-0E4A-D67DE072F440}"/>
          </ac:spMkLst>
        </pc:spChg>
        <pc:spChg chg="add del">
          <ac:chgData name="Satish, Nitin" userId="f2ecb18b-41e0-4ce1-8908-feb500df1510" providerId="ADAL" clId="{3DD8B593-4C2C-4CB9-826D-B4E86314D082}" dt="2023-08-17T06:02:01.446" v="137" actId="11529"/>
          <ac:spMkLst>
            <pc:docMk/>
            <pc:sldMk cId="1467978256" sldId="256"/>
            <ac:spMk id="46" creationId="{56FD6D2C-EEFA-4454-C2AB-ACB1C97EAE59}"/>
          </ac:spMkLst>
        </pc:spChg>
        <pc:spChg chg="add mod">
          <ac:chgData name="Satish, Nitin" userId="f2ecb18b-41e0-4ce1-8908-feb500df1510" providerId="ADAL" clId="{3DD8B593-4C2C-4CB9-826D-B4E86314D082}" dt="2023-08-17T06:03:30.072" v="148" actId="1076"/>
          <ac:spMkLst>
            <pc:docMk/>
            <pc:sldMk cId="1467978256" sldId="256"/>
            <ac:spMk id="47" creationId="{7DC3D980-A968-0681-933B-B8E650CE4D1F}"/>
          </ac:spMkLst>
        </pc:spChg>
        <pc:spChg chg="add del mod">
          <ac:chgData name="Satish, Nitin" userId="f2ecb18b-41e0-4ce1-8908-feb500df1510" providerId="ADAL" clId="{3DD8B593-4C2C-4CB9-826D-B4E86314D082}" dt="2023-08-17T06:04:56.475" v="157" actId="478"/>
          <ac:spMkLst>
            <pc:docMk/>
            <pc:sldMk cId="1467978256" sldId="256"/>
            <ac:spMk id="48" creationId="{C139E871-D410-A8C2-07C2-AB461DD147EF}"/>
          </ac:spMkLst>
        </pc:spChg>
        <pc:spChg chg="add del">
          <ac:chgData name="Satish, Nitin" userId="f2ecb18b-41e0-4ce1-8908-feb500df1510" providerId="ADAL" clId="{3DD8B593-4C2C-4CB9-826D-B4E86314D082}" dt="2023-08-17T06:05:33.118" v="159" actId="11529"/>
          <ac:spMkLst>
            <pc:docMk/>
            <pc:sldMk cId="1467978256" sldId="256"/>
            <ac:spMk id="49" creationId="{667547F5-0118-2C2C-994F-6FF0B9A5F690}"/>
          </ac:spMkLst>
        </pc:spChg>
        <pc:spChg chg="add mod">
          <ac:chgData name="Satish, Nitin" userId="f2ecb18b-41e0-4ce1-8908-feb500df1510" providerId="ADAL" clId="{3DD8B593-4C2C-4CB9-826D-B4E86314D082}" dt="2023-08-17T06:06:15.820" v="163" actId="208"/>
          <ac:spMkLst>
            <pc:docMk/>
            <pc:sldMk cId="1467978256" sldId="256"/>
            <ac:spMk id="50" creationId="{758D1E95-818F-C013-05FE-7D450A83EF4E}"/>
          </ac:spMkLst>
        </pc:spChg>
        <pc:picChg chg="add del">
          <ac:chgData name="Satish, Nitin" userId="f2ecb18b-41e0-4ce1-8908-feb500df1510" providerId="ADAL" clId="{3DD8B593-4C2C-4CB9-826D-B4E86314D082}" dt="2023-08-17T05:33:51.041" v="4"/>
          <ac:picMkLst>
            <pc:docMk/>
            <pc:sldMk cId="1467978256" sldId="256"/>
            <ac:picMk id="4" creationId="{126C2B83-D143-C7EA-DE16-7C54C35DECB2}"/>
          </ac:picMkLst>
        </pc:picChg>
        <pc:picChg chg="add mod">
          <ac:chgData name="Satish, Nitin" userId="f2ecb18b-41e0-4ce1-8908-feb500df1510" providerId="ADAL" clId="{3DD8B593-4C2C-4CB9-826D-B4E86314D082}" dt="2023-08-17T05:55:58.403" v="90" actId="1076"/>
          <ac:picMkLst>
            <pc:docMk/>
            <pc:sldMk cId="1467978256" sldId="256"/>
            <ac:picMk id="8" creationId="{C2234D20-CD6D-7B24-05C8-DFA743A230B2}"/>
          </ac:picMkLst>
        </pc:picChg>
        <pc:picChg chg="add mod">
          <ac:chgData name="Satish, Nitin" userId="f2ecb18b-41e0-4ce1-8908-feb500df1510" providerId="ADAL" clId="{3DD8B593-4C2C-4CB9-826D-B4E86314D082}" dt="2023-08-17T05:55:54.646" v="89" actId="1076"/>
          <ac:picMkLst>
            <pc:docMk/>
            <pc:sldMk cId="1467978256" sldId="256"/>
            <ac:picMk id="10" creationId="{4E1AEC7F-DB67-7638-AD60-069909AAAB0E}"/>
          </ac:picMkLst>
        </pc:picChg>
        <pc:picChg chg="add mod">
          <ac:chgData name="Satish, Nitin" userId="f2ecb18b-41e0-4ce1-8908-feb500df1510" providerId="ADAL" clId="{3DD8B593-4C2C-4CB9-826D-B4E86314D082}" dt="2023-08-17T05:58:13.107" v="111" actId="1076"/>
          <ac:picMkLst>
            <pc:docMk/>
            <pc:sldMk cId="1467978256" sldId="256"/>
            <ac:picMk id="12" creationId="{115EF2C2-4885-63D7-5892-2738B763C6A3}"/>
          </ac:picMkLst>
        </pc:picChg>
        <pc:picChg chg="add mod">
          <ac:chgData name="Satish, Nitin" userId="f2ecb18b-41e0-4ce1-8908-feb500df1510" providerId="ADAL" clId="{3DD8B593-4C2C-4CB9-826D-B4E86314D082}" dt="2023-08-17T05:58:17.624" v="112" actId="1076"/>
          <ac:picMkLst>
            <pc:docMk/>
            <pc:sldMk cId="1467978256" sldId="256"/>
            <ac:picMk id="13" creationId="{72F28C0F-43E7-4A32-8639-0A371175CF08}"/>
          </ac:picMkLst>
        </pc:picChg>
        <pc:picChg chg="add mod">
          <ac:chgData name="Satish, Nitin" userId="f2ecb18b-41e0-4ce1-8908-feb500df1510" providerId="ADAL" clId="{3DD8B593-4C2C-4CB9-826D-B4E86314D082}" dt="2023-08-17T05:57:17.332" v="102" actId="1076"/>
          <ac:picMkLst>
            <pc:docMk/>
            <pc:sldMk cId="1467978256" sldId="256"/>
            <ac:picMk id="14" creationId="{45FF195A-ACE1-C2D4-5E68-5C008B45E7A6}"/>
          </ac:picMkLst>
        </pc:picChg>
        <pc:picChg chg="add mod">
          <ac:chgData name="Satish, Nitin" userId="f2ecb18b-41e0-4ce1-8908-feb500df1510" providerId="ADAL" clId="{3DD8B593-4C2C-4CB9-826D-B4E86314D082}" dt="2023-08-17T05:56:00.674" v="91" actId="1076"/>
          <ac:picMkLst>
            <pc:docMk/>
            <pc:sldMk cId="1467978256" sldId="256"/>
            <ac:picMk id="16" creationId="{4245EA2F-D5EB-B94C-FA72-4569673656DA}"/>
          </ac:picMkLst>
        </pc:picChg>
        <pc:picChg chg="add mod">
          <ac:chgData name="Satish, Nitin" userId="f2ecb18b-41e0-4ce1-8908-feb500df1510" providerId="ADAL" clId="{3DD8B593-4C2C-4CB9-826D-B4E86314D082}" dt="2023-08-17T06:01:05.220" v="133" actId="1076"/>
          <ac:picMkLst>
            <pc:docMk/>
            <pc:sldMk cId="1467978256" sldId="256"/>
            <ac:picMk id="30" creationId="{3C487638-19F8-B79D-C02B-A8C6E52C16E8}"/>
          </ac:picMkLst>
        </pc:picChg>
        <pc:picChg chg="add del mod">
          <ac:chgData name="Satish, Nitin" userId="f2ecb18b-41e0-4ce1-8908-feb500df1510" providerId="ADAL" clId="{3DD8B593-4C2C-4CB9-826D-B4E86314D082}" dt="2023-08-17T05:59:53.056" v="127" actId="478"/>
          <ac:picMkLst>
            <pc:docMk/>
            <pc:sldMk cId="1467978256" sldId="256"/>
            <ac:picMk id="40" creationId="{C5F01C04-85D1-12B2-4422-E3ABB6487FBB}"/>
          </ac:picMkLst>
        </pc:picChg>
        <pc:picChg chg="add mod">
          <ac:chgData name="Satish, Nitin" userId="f2ecb18b-41e0-4ce1-8908-feb500df1510" providerId="ADAL" clId="{3DD8B593-4C2C-4CB9-826D-B4E86314D082}" dt="2023-08-17T06:29:38.121" v="239" actId="1076"/>
          <ac:picMkLst>
            <pc:docMk/>
            <pc:sldMk cId="1467978256" sldId="256"/>
            <ac:picMk id="52" creationId="{96B81786-3CB3-5004-6A17-AE6018B38A9C}"/>
          </ac:picMkLst>
        </pc:picChg>
        <pc:picChg chg="add mod">
          <ac:chgData name="Satish, Nitin" userId="f2ecb18b-41e0-4ce1-8908-feb500df1510" providerId="ADAL" clId="{3DD8B593-4C2C-4CB9-826D-B4E86314D082}" dt="2023-08-17T06:28:53.423" v="238" actId="1076"/>
          <ac:picMkLst>
            <pc:docMk/>
            <pc:sldMk cId="1467978256" sldId="256"/>
            <ac:picMk id="54" creationId="{A2C04FD1-5ABC-527D-A0F8-D9BC1AEDAD3C}"/>
          </ac:picMkLst>
        </pc:picChg>
        <pc:picChg chg="add del mod">
          <ac:chgData name="Satish, Nitin" userId="f2ecb18b-41e0-4ce1-8908-feb500df1510" providerId="ADAL" clId="{3DD8B593-4C2C-4CB9-826D-B4E86314D082}" dt="2023-08-17T06:26:40.631" v="217" actId="478"/>
          <ac:picMkLst>
            <pc:docMk/>
            <pc:sldMk cId="1467978256" sldId="256"/>
            <ac:picMk id="56" creationId="{5F0D2225-A826-2F25-999E-5A2149C53B99}"/>
          </ac:picMkLst>
        </pc:picChg>
        <pc:picChg chg="add mod">
          <ac:chgData name="Satish, Nitin" userId="f2ecb18b-41e0-4ce1-8908-feb500df1510" providerId="ADAL" clId="{3DD8B593-4C2C-4CB9-826D-B4E86314D082}" dt="2023-08-17T06:27:26.211" v="221" actId="1076"/>
          <ac:picMkLst>
            <pc:docMk/>
            <pc:sldMk cId="1467978256" sldId="256"/>
            <ac:picMk id="58" creationId="{7571FDD4-1321-7666-EC5C-024777904BE0}"/>
          </ac:picMkLst>
        </pc:picChg>
        <pc:picChg chg="add mod">
          <ac:chgData name="Satish, Nitin" userId="f2ecb18b-41e0-4ce1-8908-feb500df1510" providerId="ADAL" clId="{3DD8B593-4C2C-4CB9-826D-B4E86314D082}" dt="2023-08-17T06:27:54.542" v="225" actId="1076"/>
          <ac:picMkLst>
            <pc:docMk/>
            <pc:sldMk cId="1467978256" sldId="256"/>
            <ac:picMk id="60" creationId="{47426515-086D-BFF7-0609-A749DE34ECF6}"/>
          </ac:picMkLst>
        </pc:picChg>
        <pc:picChg chg="add mod">
          <ac:chgData name="Satish, Nitin" userId="f2ecb18b-41e0-4ce1-8908-feb500df1510" providerId="ADAL" clId="{3DD8B593-4C2C-4CB9-826D-B4E86314D082}" dt="2023-08-17T06:28:27.590" v="232" actId="688"/>
          <ac:picMkLst>
            <pc:docMk/>
            <pc:sldMk cId="1467978256" sldId="256"/>
            <ac:picMk id="61" creationId="{24B02018-EF02-4A33-B93E-4E4952963815}"/>
          </ac:picMkLst>
        </pc:picChg>
        <pc:picChg chg="add del mod">
          <ac:chgData name="Satish, Nitin" userId="f2ecb18b-41e0-4ce1-8908-feb500df1510" providerId="ADAL" clId="{3DD8B593-4C2C-4CB9-826D-B4E86314D082}" dt="2023-08-17T06:28:36.824" v="234" actId="478"/>
          <ac:picMkLst>
            <pc:docMk/>
            <pc:sldMk cId="1467978256" sldId="256"/>
            <ac:picMk id="62" creationId="{9A78CB32-56F3-9B39-E559-7B5E1C700366}"/>
          </ac:picMkLst>
        </pc:picChg>
        <pc:picChg chg="add mod">
          <ac:chgData name="Satish, Nitin" userId="f2ecb18b-41e0-4ce1-8908-feb500df1510" providerId="ADAL" clId="{3DD8B593-4C2C-4CB9-826D-B4E86314D082}" dt="2023-08-17T06:28:47.124" v="237" actId="1076"/>
          <ac:picMkLst>
            <pc:docMk/>
            <pc:sldMk cId="1467978256" sldId="256"/>
            <ac:picMk id="63" creationId="{E474CAC2-F684-47DA-B762-CC8E51D06059}"/>
          </ac:picMkLst>
        </pc:picChg>
        <pc:cxnChg chg="add mod">
          <ac:chgData name="Satish, Nitin" userId="f2ecb18b-41e0-4ce1-8908-feb500df1510" providerId="ADAL" clId="{3DD8B593-4C2C-4CB9-826D-B4E86314D082}" dt="2023-08-17T05:58:13.107" v="111" actId="1076"/>
          <ac:cxnSpMkLst>
            <pc:docMk/>
            <pc:sldMk cId="1467978256" sldId="256"/>
            <ac:cxnSpMk id="18" creationId="{D2C31B1B-C8CF-A6EE-D511-DEBCFF7AE9BE}"/>
          </ac:cxnSpMkLst>
        </pc:cxnChg>
        <pc:cxnChg chg="add del mod">
          <ac:chgData name="Satish, Nitin" userId="f2ecb18b-41e0-4ce1-8908-feb500df1510" providerId="ADAL" clId="{3DD8B593-4C2C-4CB9-826D-B4E86314D082}" dt="2023-08-17T05:56:48.689" v="96" actId="11529"/>
          <ac:cxnSpMkLst>
            <pc:docMk/>
            <pc:sldMk cId="1467978256" sldId="256"/>
            <ac:cxnSpMk id="20" creationId="{47701309-E119-FBD4-23B5-07FDEF793F85}"/>
          </ac:cxnSpMkLst>
        </pc:cxnChg>
        <pc:cxnChg chg="add mod">
          <ac:chgData name="Satish, Nitin" userId="f2ecb18b-41e0-4ce1-8908-feb500df1510" providerId="ADAL" clId="{3DD8B593-4C2C-4CB9-826D-B4E86314D082}" dt="2023-08-17T05:57:17.332" v="102" actId="1076"/>
          <ac:cxnSpMkLst>
            <pc:docMk/>
            <pc:sldMk cId="1467978256" sldId="256"/>
            <ac:cxnSpMk id="22" creationId="{EEC1D081-2E41-A057-584F-6E0F08E5980C}"/>
          </ac:cxnSpMkLst>
        </pc:cxnChg>
        <pc:cxnChg chg="add mod">
          <ac:chgData name="Satish, Nitin" userId="f2ecb18b-41e0-4ce1-8908-feb500df1510" providerId="ADAL" clId="{3DD8B593-4C2C-4CB9-826D-B4E86314D082}" dt="2023-08-17T05:58:17.624" v="112" actId="1076"/>
          <ac:cxnSpMkLst>
            <pc:docMk/>
            <pc:sldMk cId="1467978256" sldId="256"/>
            <ac:cxnSpMk id="27" creationId="{4F0AAEC5-9A9E-9684-6C29-645A8C622AAB}"/>
          </ac:cxnSpMkLst>
        </pc:cxnChg>
        <pc:cxnChg chg="add del mod">
          <ac:chgData name="Satish, Nitin" userId="f2ecb18b-41e0-4ce1-8908-feb500df1510" providerId="ADAL" clId="{3DD8B593-4C2C-4CB9-826D-B4E86314D082}" dt="2023-08-17T05:59:05.003" v="120" actId="478"/>
          <ac:cxnSpMkLst>
            <pc:docMk/>
            <pc:sldMk cId="1467978256" sldId="256"/>
            <ac:cxnSpMk id="34" creationId="{9090DD6E-58A4-F0FA-9F0D-959BC9E798D9}"/>
          </ac:cxnSpMkLst>
        </pc:cxnChg>
        <pc:cxnChg chg="add del mod">
          <ac:chgData name="Satish, Nitin" userId="f2ecb18b-41e0-4ce1-8908-feb500df1510" providerId="ADAL" clId="{3DD8B593-4C2C-4CB9-826D-B4E86314D082}" dt="2023-08-17T05:59:26.696" v="123" actId="478"/>
          <ac:cxnSpMkLst>
            <pc:docMk/>
            <pc:sldMk cId="1467978256" sldId="256"/>
            <ac:cxnSpMk id="38" creationId="{41C928A5-8962-A1C4-7202-8B1F40B28AD4}"/>
          </ac:cxnSpMkLst>
        </pc:cxnChg>
        <pc:cxnChg chg="add del mod">
          <ac:chgData name="Satish, Nitin" userId="f2ecb18b-41e0-4ce1-8908-feb500df1510" providerId="ADAL" clId="{3DD8B593-4C2C-4CB9-826D-B4E86314D082}" dt="2023-08-17T06:00:17.796" v="131" actId="478"/>
          <ac:cxnSpMkLst>
            <pc:docMk/>
            <pc:sldMk cId="1467978256" sldId="256"/>
            <ac:cxnSpMk id="41" creationId="{B632091F-6423-F8A3-7361-D4A5D6F99545}"/>
          </ac:cxnSpMkLst>
        </pc:cxnChg>
        <pc:cxnChg chg="add mod">
          <ac:chgData name="Satish, Nitin" userId="f2ecb18b-41e0-4ce1-8908-feb500df1510" providerId="ADAL" clId="{3DD8B593-4C2C-4CB9-826D-B4E86314D082}" dt="2023-08-17T06:01:34.239" v="135" actId="1582"/>
          <ac:cxnSpMkLst>
            <pc:docMk/>
            <pc:sldMk cId="1467978256" sldId="256"/>
            <ac:cxnSpMk id="44" creationId="{C1336D4D-0040-9930-F8AE-8B219C38B3EE}"/>
          </ac:cxnSpMkLst>
        </pc:cxnChg>
      </pc:sldChg>
      <pc:sldChg chg="add del">
        <pc:chgData name="Satish, Nitin" userId="f2ecb18b-41e0-4ce1-8908-feb500df1510" providerId="ADAL" clId="{3DD8B593-4C2C-4CB9-826D-B4E86314D082}" dt="2023-08-17T10:01:41.386" v="1190"/>
        <pc:sldMkLst>
          <pc:docMk/>
          <pc:sldMk cId="953986466" sldId="270"/>
        </pc:sldMkLst>
      </pc:sldChg>
      <pc:sldChg chg="addSp delSp modSp add del mod">
        <pc:chgData name="Satish, Nitin" userId="f2ecb18b-41e0-4ce1-8908-feb500df1510" providerId="ADAL" clId="{3DD8B593-4C2C-4CB9-826D-B4E86314D082}" dt="2023-08-30T14:28:06.854" v="1525" actId="1076"/>
        <pc:sldMkLst>
          <pc:docMk/>
          <pc:sldMk cId="967426923" sldId="1043"/>
        </pc:sldMkLst>
        <pc:spChg chg="mod">
          <ac:chgData name="Satish, Nitin" userId="f2ecb18b-41e0-4ce1-8908-feb500df1510" providerId="ADAL" clId="{3DD8B593-4C2C-4CB9-826D-B4E86314D082}" dt="2023-08-17T05:35:25.712" v="33" actId="20577"/>
          <ac:spMkLst>
            <pc:docMk/>
            <pc:sldMk cId="967426923" sldId="1043"/>
            <ac:spMk id="2" creationId="{F1DFDA52-C0F0-45D2-A8E6-81F969C00184}"/>
          </ac:spMkLst>
        </pc:spChg>
        <pc:spChg chg="mod">
          <ac:chgData name="Satish, Nitin" userId="f2ecb18b-41e0-4ce1-8908-feb500df1510" providerId="ADAL" clId="{3DD8B593-4C2C-4CB9-826D-B4E86314D082}" dt="2023-08-18T08:34:15.165" v="1521" actId="14100"/>
          <ac:spMkLst>
            <pc:docMk/>
            <pc:sldMk cId="967426923" sldId="1043"/>
            <ac:spMk id="3" creationId="{C848BA6D-2927-44B8-ACA6-7A2F73E5B792}"/>
          </ac:spMkLst>
        </pc:spChg>
        <pc:spChg chg="add del mod">
          <ac:chgData name="Satish, Nitin" userId="f2ecb18b-41e0-4ce1-8908-feb500df1510" providerId="ADAL" clId="{3DD8B593-4C2C-4CB9-826D-B4E86314D082}" dt="2023-08-17T05:34:55" v="13"/>
          <ac:spMkLst>
            <pc:docMk/>
            <pc:sldMk cId="967426923" sldId="1043"/>
            <ac:spMk id="4" creationId="{714E9395-115D-C67A-AF22-DE449249777C}"/>
          </ac:spMkLst>
        </pc:spChg>
        <pc:spChg chg="del mod">
          <ac:chgData name="Satish, Nitin" userId="f2ecb18b-41e0-4ce1-8908-feb500df1510" providerId="ADAL" clId="{3DD8B593-4C2C-4CB9-826D-B4E86314D082}" dt="2023-08-17T05:34:45.309" v="9" actId="478"/>
          <ac:spMkLst>
            <pc:docMk/>
            <pc:sldMk cId="967426923" sldId="1043"/>
            <ac:spMk id="5" creationId="{360458FB-76B6-4743-A12A-A42645182007}"/>
          </ac:spMkLst>
        </pc:spChg>
        <pc:picChg chg="add mod">
          <ac:chgData name="Satish, Nitin" userId="f2ecb18b-41e0-4ce1-8908-feb500df1510" providerId="ADAL" clId="{3DD8B593-4C2C-4CB9-826D-B4E86314D082}" dt="2023-08-30T14:28:06.854" v="1525" actId="1076"/>
          <ac:picMkLst>
            <pc:docMk/>
            <pc:sldMk cId="967426923" sldId="1043"/>
            <ac:picMk id="6" creationId="{93919490-E65A-17A1-7BEC-B2F30A57D5D4}"/>
          </ac:picMkLst>
        </pc:picChg>
      </pc:sldChg>
      <pc:sldChg chg="delSp modSp del mod setBg">
        <pc:chgData name="Satish, Nitin" userId="f2ecb18b-41e0-4ce1-8908-feb500df1510" providerId="ADAL" clId="{3DD8B593-4C2C-4CB9-826D-B4E86314D082}" dt="2023-08-17T11:15:28.381" v="1312" actId="2696"/>
        <pc:sldMkLst>
          <pc:docMk/>
          <pc:sldMk cId="71430732" sldId="2145706651"/>
        </pc:sldMkLst>
        <pc:spChg chg="del">
          <ac:chgData name="Satish, Nitin" userId="f2ecb18b-41e0-4ce1-8908-feb500df1510" providerId="ADAL" clId="{3DD8B593-4C2C-4CB9-826D-B4E86314D082}" dt="2023-08-17T11:14:09.033" v="1305" actId="478"/>
          <ac:spMkLst>
            <pc:docMk/>
            <pc:sldMk cId="71430732" sldId="2145706651"/>
            <ac:spMk id="13" creationId="{ED14F1F5-FC8A-42B2-8575-7A8378E2CC8B}"/>
          </ac:spMkLst>
        </pc:spChg>
        <pc:spChg chg="mod">
          <ac:chgData name="Satish, Nitin" userId="f2ecb18b-41e0-4ce1-8908-feb500df1510" providerId="ADAL" clId="{3DD8B593-4C2C-4CB9-826D-B4E86314D082}" dt="2023-08-17T11:15:04.865" v="1311" actId="14100"/>
          <ac:spMkLst>
            <pc:docMk/>
            <pc:sldMk cId="71430732" sldId="2145706651"/>
            <ac:spMk id="18" creationId="{BA77B8E3-D9E9-436A-A6AC-DE0CBB454D0D}"/>
          </ac:spMkLst>
        </pc:spChg>
        <pc:spChg chg="del mod">
          <ac:chgData name="Satish, Nitin" userId="f2ecb18b-41e0-4ce1-8908-feb500df1510" providerId="ADAL" clId="{3DD8B593-4C2C-4CB9-826D-B4E86314D082}" dt="2023-08-17T11:14:42.189" v="1308" actId="478"/>
          <ac:spMkLst>
            <pc:docMk/>
            <pc:sldMk cId="71430732" sldId="2145706651"/>
            <ac:spMk id="19" creationId="{D55A8B98-1982-4B75-835B-C0B489C7A957}"/>
          </ac:spMkLst>
        </pc:spChg>
        <pc:spChg chg="del">
          <ac:chgData name="Satish, Nitin" userId="f2ecb18b-41e0-4ce1-8908-feb500df1510" providerId="ADAL" clId="{3DD8B593-4C2C-4CB9-826D-B4E86314D082}" dt="2023-08-17T11:14:53.767" v="1309" actId="478"/>
          <ac:spMkLst>
            <pc:docMk/>
            <pc:sldMk cId="71430732" sldId="2145706651"/>
            <ac:spMk id="20" creationId="{5F7D92B5-5E18-4CE8-A529-277DF1125500}"/>
          </ac:spMkLst>
        </pc:spChg>
      </pc:sldChg>
      <pc:sldChg chg="addSp delSp modSp mod ord setBg modShow">
        <pc:chgData name="Satish, Nitin" userId="f2ecb18b-41e0-4ce1-8908-feb500df1510" providerId="ADAL" clId="{3DD8B593-4C2C-4CB9-826D-B4E86314D082}" dt="2023-08-18T08:34:54.636" v="1523"/>
        <pc:sldMkLst>
          <pc:docMk/>
          <pc:sldMk cId="3952845283" sldId="2147373539"/>
        </pc:sldMkLst>
        <pc:spChg chg="mod">
          <ac:chgData name="Satish, Nitin" userId="f2ecb18b-41e0-4ce1-8908-feb500df1510" providerId="ADAL" clId="{3DD8B593-4C2C-4CB9-826D-B4E86314D082}" dt="2023-08-18T05:03:27.509" v="1410" actId="14100"/>
          <ac:spMkLst>
            <pc:docMk/>
            <pc:sldMk cId="3952845283" sldId="2147373539"/>
            <ac:spMk id="2" creationId="{5CFF8D52-9C48-489C-A115-91BD5ACD2F98}"/>
          </ac:spMkLst>
        </pc:spChg>
        <pc:spChg chg="add mod">
          <ac:chgData name="Satish, Nitin" userId="f2ecb18b-41e0-4ce1-8908-feb500df1510" providerId="ADAL" clId="{3DD8B593-4C2C-4CB9-826D-B4E86314D082}" dt="2023-08-17T11:22:20.047" v="1354"/>
          <ac:spMkLst>
            <pc:docMk/>
            <pc:sldMk cId="3952845283" sldId="2147373539"/>
            <ac:spMk id="4" creationId="{AD4F9423-3719-B6DF-2340-5F92A2245D4D}"/>
          </ac:spMkLst>
        </pc:spChg>
        <pc:spChg chg="del">
          <ac:chgData name="Satish, Nitin" userId="f2ecb18b-41e0-4ce1-8908-feb500df1510" providerId="ADAL" clId="{3DD8B593-4C2C-4CB9-826D-B4E86314D082}" dt="2023-08-17T11:21:43.464" v="1348" actId="478"/>
          <ac:spMkLst>
            <pc:docMk/>
            <pc:sldMk cId="3952845283" sldId="2147373539"/>
            <ac:spMk id="12" creationId="{D9FE05A2-6E6D-438F-98DA-6F91C779B4E5}"/>
          </ac:spMkLst>
        </pc:spChg>
        <pc:spChg chg="mod">
          <ac:chgData name="Satish, Nitin" userId="f2ecb18b-41e0-4ce1-8908-feb500df1510" providerId="ADAL" clId="{3DD8B593-4C2C-4CB9-826D-B4E86314D082}" dt="2023-08-18T05:03:27.142" v="1409" actId="14100"/>
          <ac:spMkLst>
            <pc:docMk/>
            <pc:sldMk cId="3952845283" sldId="2147373539"/>
            <ac:spMk id="15" creationId="{C335512C-9F24-41C8-949C-138B1CD3E698}"/>
          </ac:spMkLst>
        </pc:spChg>
        <pc:spChg chg="mod">
          <ac:chgData name="Satish, Nitin" userId="f2ecb18b-41e0-4ce1-8908-feb500df1510" providerId="ADAL" clId="{3DD8B593-4C2C-4CB9-826D-B4E86314D082}" dt="2023-08-18T05:03:26.735" v="1408" actId="14100"/>
          <ac:spMkLst>
            <pc:docMk/>
            <pc:sldMk cId="3952845283" sldId="2147373539"/>
            <ac:spMk id="17" creationId="{0BE15B00-C228-474A-B89A-AE970BF56579}"/>
          </ac:spMkLst>
        </pc:spChg>
        <pc:spChg chg="mod">
          <ac:chgData name="Satish, Nitin" userId="f2ecb18b-41e0-4ce1-8908-feb500df1510" providerId="ADAL" clId="{3DD8B593-4C2C-4CB9-826D-B4E86314D082}" dt="2023-08-17T11:22:24.488" v="1355" actId="207"/>
          <ac:spMkLst>
            <pc:docMk/>
            <pc:sldMk cId="3952845283" sldId="2147373539"/>
            <ac:spMk id="18" creationId="{FE6675B7-F118-41C4-9E07-3B0513518E23}"/>
          </ac:spMkLst>
        </pc:spChg>
        <pc:spChg chg="mod">
          <ac:chgData name="Satish, Nitin" userId="f2ecb18b-41e0-4ce1-8908-feb500df1510" providerId="ADAL" clId="{3DD8B593-4C2C-4CB9-826D-B4E86314D082}" dt="2023-08-17T11:25:25.570" v="1393" actId="1076"/>
          <ac:spMkLst>
            <pc:docMk/>
            <pc:sldMk cId="3952845283" sldId="2147373539"/>
            <ac:spMk id="21" creationId="{918854B7-B6DF-4B78-A146-4407A2547AA9}"/>
          </ac:spMkLst>
        </pc:spChg>
        <pc:spChg chg="mod">
          <ac:chgData name="Satish, Nitin" userId="f2ecb18b-41e0-4ce1-8908-feb500df1510" providerId="ADAL" clId="{3DD8B593-4C2C-4CB9-826D-B4E86314D082}" dt="2023-08-17T11:24:02.591" v="1376" actId="14100"/>
          <ac:spMkLst>
            <pc:docMk/>
            <pc:sldMk cId="3952845283" sldId="2147373539"/>
            <ac:spMk id="22" creationId="{8251DA8F-ED81-46B2-AFC3-3AEC74B49DB3}"/>
          </ac:spMkLst>
        </pc:spChg>
        <pc:spChg chg="mod">
          <ac:chgData name="Satish, Nitin" userId="f2ecb18b-41e0-4ce1-8908-feb500df1510" providerId="ADAL" clId="{3DD8B593-4C2C-4CB9-826D-B4E86314D082}" dt="2023-08-17T11:25:22.241" v="1392" actId="1076"/>
          <ac:spMkLst>
            <pc:docMk/>
            <pc:sldMk cId="3952845283" sldId="2147373539"/>
            <ac:spMk id="25" creationId="{56C9EB3C-CD8B-4F4A-A82D-A057738245CB}"/>
          </ac:spMkLst>
        </pc:spChg>
        <pc:spChg chg="mod">
          <ac:chgData name="Satish, Nitin" userId="f2ecb18b-41e0-4ce1-8908-feb500df1510" providerId="ADAL" clId="{3DD8B593-4C2C-4CB9-826D-B4E86314D082}" dt="2023-08-17T11:23:04.724" v="1363" actId="1076"/>
          <ac:spMkLst>
            <pc:docMk/>
            <pc:sldMk cId="3952845283" sldId="2147373539"/>
            <ac:spMk id="26" creationId="{4346E778-0B2D-4A9B-ABFE-C3814007D016}"/>
          </ac:spMkLst>
        </pc:spChg>
        <pc:spChg chg="mod">
          <ac:chgData name="Satish, Nitin" userId="f2ecb18b-41e0-4ce1-8908-feb500df1510" providerId="ADAL" clId="{3DD8B593-4C2C-4CB9-826D-B4E86314D082}" dt="2023-08-17T11:23:20.547" v="1366" actId="12"/>
          <ac:spMkLst>
            <pc:docMk/>
            <pc:sldMk cId="3952845283" sldId="2147373539"/>
            <ac:spMk id="28" creationId="{D26DA2AC-FE15-40F9-9E9B-544270F40A72}"/>
          </ac:spMkLst>
        </pc:spChg>
        <pc:spChg chg="mod">
          <ac:chgData name="Satish, Nitin" userId="f2ecb18b-41e0-4ce1-8908-feb500df1510" providerId="ADAL" clId="{3DD8B593-4C2C-4CB9-826D-B4E86314D082}" dt="2023-08-17T11:23:30.542" v="1368" actId="1076"/>
          <ac:spMkLst>
            <pc:docMk/>
            <pc:sldMk cId="3952845283" sldId="2147373539"/>
            <ac:spMk id="29" creationId="{46F0A7C9-7574-4BA7-9D1D-EF7FF473089F}"/>
          </ac:spMkLst>
        </pc:spChg>
        <pc:spChg chg="mod">
          <ac:chgData name="Satish, Nitin" userId="f2ecb18b-41e0-4ce1-8908-feb500df1510" providerId="ADAL" clId="{3DD8B593-4C2C-4CB9-826D-B4E86314D082}" dt="2023-08-17T11:25:08.015" v="1389" actId="1076"/>
          <ac:spMkLst>
            <pc:docMk/>
            <pc:sldMk cId="3952845283" sldId="2147373539"/>
            <ac:spMk id="32" creationId="{5A8BFF16-65D2-4A0F-99F3-CA014C0E0324}"/>
          </ac:spMkLst>
        </pc:spChg>
        <pc:spChg chg="mod">
          <ac:chgData name="Satish, Nitin" userId="f2ecb18b-41e0-4ce1-8908-feb500df1510" providerId="ADAL" clId="{3DD8B593-4C2C-4CB9-826D-B4E86314D082}" dt="2023-08-18T05:03:26.154" v="1407" actId="14100"/>
          <ac:spMkLst>
            <pc:docMk/>
            <pc:sldMk cId="3952845283" sldId="2147373539"/>
            <ac:spMk id="33" creationId="{014738F1-862B-45B6-BB70-464B967F08C2}"/>
          </ac:spMkLst>
        </pc:spChg>
        <pc:spChg chg="mod">
          <ac:chgData name="Satish, Nitin" userId="f2ecb18b-41e0-4ce1-8908-feb500df1510" providerId="ADAL" clId="{3DD8B593-4C2C-4CB9-826D-B4E86314D082}" dt="2023-08-17T11:24:31.227" v="1382" actId="14100"/>
          <ac:spMkLst>
            <pc:docMk/>
            <pc:sldMk cId="3952845283" sldId="2147373539"/>
            <ac:spMk id="34" creationId="{D389322F-09FB-44EA-99B8-6394E3CD9D4F}"/>
          </ac:spMkLst>
        </pc:spChg>
        <pc:spChg chg="mod">
          <ac:chgData name="Satish, Nitin" userId="f2ecb18b-41e0-4ce1-8908-feb500df1510" providerId="ADAL" clId="{3DD8B593-4C2C-4CB9-826D-B4E86314D082}" dt="2023-08-17T11:23:14.462" v="1365" actId="1076"/>
          <ac:spMkLst>
            <pc:docMk/>
            <pc:sldMk cId="3952845283" sldId="2147373539"/>
            <ac:spMk id="40" creationId="{6C6C959F-AB6D-44CF-A689-DC3B4F1DBA49}"/>
          </ac:spMkLst>
        </pc:spChg>
        <pc:spChg chg="mod">
          <ac:chgData name="Satish, Nitin" userId="f2ecb18b-41e0-4ce1-8908-feb500df1510" providerId="ADAL" clId="{3DD8B593-4C2C-4CB9-826D-B4E86314D082}" dt="2023-08-17T11:23:38.464" v="1370" actId="1076"/>
          <ac:spMkLst>
            <pc:docMk/>
            <pc:sldMk cId="3952845283" sldId="2147373539"/>
            <ac:spMk id="41" creationId="{9FAA9C55-C719-4E7F-A016-17223AF39B3E}"/>
          </ac:spMkLst>
        </pc:spChg>
        <pc:spChg chg="mod">
          <ac:chgData name="Satish, Nitin" userId="f2ecb18b-41e0-4ce1-8908-feb500df1510" providerId="ADAL" clId="{3DD8B593-4C2C-4CB9-826D-B4E86314D082}" dt="2023-08-17T11:25:02.616" v="1388" actId="1076"/>
          <ac:spMkLst>
            <pc:docMk/>
            <pc:sldMk cId="3952845283" sldId="2147373539"/>
            <ac:spMk id="42" creationId="{D3962F5D-B2C4-43CD-849C-92907BAF7139}"/>
          </ac:spMkLst>
        </pc:spChg>
        <pc:picChg chg="del">
          <ac:chgData name="Satish, Nitin" userId="f2ecb18b-41e0-4ce1-8908-feb500df1510" providerId="ADAL" clId="{3DD8B593-4C2C-4CB9-826D-B4E86314D082}" dt="2023-08-17T11:21:12.861" v="1345" actId="478"/>
          <ac:picMkLst>
            <pc:docMk/>
            <pc:sldMk cId="3952845283" sldId="2147373539"/>
            <ac:picMk id="13" creationId="{1AE4809D-9335-4A27-BD15-8633988990CD}"/>
          </ac:picMkLst>
        </pc:picChg>
        <pc:cxnChg chg="mod">
          <ac:chgData name="Satish, Nitin" userId="f2ecb18b-41e0-4ce1-8908-feb500df1510" providerId="ADAL" clId="{3DD8B593-4C2C-4CB9-826D-B4E86314D082}" dt="2023-08-17T11:25:36.284" v="1395" actId="14100"/>
          <ac:cxnSpMkLst>
            <pc:docMk/>
            <pc:sldMk cId="3952845283" sldId="2147373539"/>
            <ac:cxnSpMk id="5" creationId="{4C40EF82-8978-4718-BE84-2FAAB950E4DC}"/>
          </ac:cxnSpMkLst>
        </pc:cxnChg>
        <pc:cxnChg chg="add del mod">
          <ac:chgData name="Satish, Nitin" userId="f2ecb18b-41e0-4ce1-8908-feb500df1510" providerId="ADAL" clId="{3DD8B593-4C2C-4CB9-826D-B4E86314D082}" dt="2023-08-18T05:03:25.254" v="1405" actId="1076"/>
          <ac:cxnSpMkLst>
            <pc:docMk/>
            <pc:sldMk cId="3952845283" sldId="2147373539"/>
            <ac:cxnSpMk id="20" creationId="{56D2771F-F3B8-4763-8B34-95149ACF4C64}"/>
          </ac:cxnSpMkLst>
        </pc:cxnChg>
        <pc:cxnChg chg="mod">
          <ac:chgData name="Satish, Nitin" userId="f2ecb18b-41e0-4ce1-8908-feb500df1510" providerId="ADAL" clId="{3DD8B593-4C2C-4CB9-826D-B4E86314D082}" dt="2023-08-18T05:03:25.603" v="1406" actId="1076"/>
          <ac:cxnSpMkLst>
            <pc:docMk/>
            <pc:sldMk cId="3952845283" sldId="2147373539"/>
            <ac:cxnSpMk id="35" creationId="{734435E4-21A2-48B4-84DE-7C2EE32320D1}"/>
          </ac:cxnSpMkLst>
        </pc:cxnChg>
        <pc:cxnChg chg="del mod">
          <ac:chgData name="Satish, Nitin" userId="f2ecb18b-41e0-4ce1-8908-feb500df1510" providerId="ADAL" clId="{3DD8B593-4C2C-4CB9-826D-B4E86314D082}" dt="2023-08-17T11:21:21.352" v="1347" actId="478"/>
          <ac:cxnSpMkLst>
            <pc:docMk/>
            <pc:sldMk cId="3952845283" sldId="2147373539"/>
            <ac:cxnSpMk id="37" creationId="{4779EE75-D6D6-4144-AE77-87AFB004B184}"/>
          </ac:cxnSpMkLst>
        </pc:cxnChg>
      </pc:sldChg>
      <pc:sldChg chg="add del">
        <pc:chgData name="Satish, Nitin" userId="f2ecb18b-41e0-4ce1-8908-feb500df1510" providerId="ADAL" clId="{3DD8B593-4C2C-4CB9-826D-B4E86314D082}" dt="2023-08-17T10:02:09.799" v="1193"/>
        <pc:sldMkLst>
          <pc:docMk/>
          <pc:sldMk cId="2261205970" sldId="2147373557"/>
        </pc:sldMkLst>
      </pc:sldChg>
      <pc:sldChg chg="modSp add mod ord setBg">
        <pc:chgData name="Satish, Nitin" userId="f2ecb18b-41e0-4ce1-8908-feb500df1510" providerId="ADAL" clId="{3DD8B593-4C2C-4CB9-826D-B4E86314D082}" dt="2023-08-17T08:38:51.944" v="955" actId="20577"/>
        <pc:sldMkLst>
          <pc:docMk/>
          <pc:sldMk cId="3765512770" sldId="2147376101"/>
        </pc:sldMkLst>
        <pc:spChg chg="mod">
          <ac:chgData name="Satish, Nitin" userId="f2ecb18b-41e0-4ce1-8908-feb500df1510" providerId="ADAL" clId="{3DD8B593-4C2C-4CB9-826D-B4E86314D082}" dt="2023-08-17T08:38:51.944" v="955" actId="20577"/>
          <ac:spMkLst>
            <pc:docMk/>
            <pc:sldMk cId="3765512770" sldId="2147376101"/>
            <ac:spMk id="108" creationId="{FA2420EC-C002-6993-7ADB-8F3D38BCB2FC}"/>
          </ac:spMkLst>
        </pc:spChg>
        <pc:spChg chg="mod">
          <ac:chgData name="Satish, Nitin" userId="f2ecb18b-41e0-4ce1-8908-feb500df1510" providerId="ADAL" clId="{3DD8B593-4C2C-4CB9-826D-B4E86314D082}" dt="2023-08-17T05:41:52.827" v="40" actId="207"/>
          <ac:spMkLst>
            <pc:docMk/>
            <pc:sldMk cId="3765512770" sldId="2147376101"/>
            <ac:spMk id="135" creationId="{4FB15A81-1D7D-BADF-F0D4-122306B3EB54}"/>
          </ac:spMkLst>
        </pc:spChg>
      </pc:sldChg>
      <pc:sldChg chg="addSp delSp modSp add mod">
        <pc:chgData name="Satish, Nitin" userId="f2ecb18b-41e0-4ce1-8908-feb500df1510" providerId="ADAL" clId="{3DD8B593-4C2C-4CB9-826D-B4E86314D082}" dt="2023-08-17T11:11:17.789" v="1296" actId="14100"/>
        <pc:sldMkLst>
          <pc:docMk/>
          <pc:sldMk cId="1271412440" sldId="2147376102"/>
        </pc:sldMkLst>
        <pc:spChg chg="mod">
          <ac:chgData name="Satish, Nitin" userId="f2ecb18b-41e0-4ce1-8908-feb500df1510" providerId="ADAL" clId="{3DD8B593-4C2C-4CB9-826D-B4E86314D082}" dt="2023-08-17T06:39:11.653" v="248" actId="20577"/>
          <ac:spMkLst>
            <pc:docMk/>
            <pc:sldMk cId="1271412440" sldId="2147376102"/>
            <ac:spMk id="5" creationId="{3ACBC9A2-75A7-C8EF-68ED-531DF1C36A06}"/>
          </ac:spMkLst>
        </pc:spChg>
        <pc:spChg chg="del">
          <ac:chgData name="Satish, Nitin" userId="f2ecb18b-41e0-4ce1-8908-feb500df1510" providerId="ADAL" clId="{3DD8B593-4C2C-4CB9-826D-B4E86314D082}" dt="2023-08-17T06:38:49.045" v="241" actId="478"/>
          <ac:spMkLst>
            <pc:docMk/>
            <pc:sldMk cId="1271412440" sldId="2147376102"/>
            <ac:spMk id="6" creationId="{39279461-A127-1A5E-0E4A-D67DE072F440}"/>
          </ac:spMkLst>
        </pc:spChg>
        <pc:spChg chg="add del mod">
          <ac:chgData name="Satish, Nitin" userId="f2ecb18b-41e0-4ce1-8908-feb500df1510" providerId="ADAL" clId="{3DD8B593-4C2C-4CB9-826D-B4E86314D082}" dt="2023-08-17T06:57:43.488" v="391" actId="478"/>
          <ac:spMkLst>
            <pc:docMk/>
            <pc:sldMk cId="1271412440" sldId="2147376102"/>
            <ac:spMk id="45" creationId="{EB27A664-4B4D-6B07-3BB5-232FC05704FB}"/>
          </ac:spMkLst>
        </pc:spChg>
        <pc:spChg chg="add mod">
          <ac:chgData name="Satish, Nitin" userId="f2ecb18b-41e0-4ce1-8908-feb500df1510" providerId="ADAL" clId="{3DD8B593-4C2C-4CB9-826D-B4E86314D082}" dt="2023-08-17T06:57:52.361" v="392" actId="1076"/>
          <ac:spMkLst>
            <pc:docMk/>
            <pc:sldMk cId="1271412440" sldId="2147376102"/>
            <ac:spMk id="46" creationId="{F44E9F23-DD91-C69D-701D-151199C78DB6}"/>
          </ac:spMkLst>
        </pc:spChg>
        <pc:spChg chg="del">
          <ac:chgData name="Satish, Nitin" userId="f2ecb18b-41e0-4ce1-8908-feb500df1510" providerId="ADAL" clId="{3DD8B593-4C2C-4CB9-826D-B4E86314D082}" dt="2023-08-17T06:38:49.045" v="241" actId="478"/>
          <ac:spMkLst>
            <pc:docMk/>
            <pc:sldMk cId="1271412440" sldId="2147376102"/>
            <ac:spMk id="47" creationId="{7DC3D980-A968-0681-933B-B8E650CE4D1F}"/>
          </ac:spMkLst>
        </pc:spChg>
        <pc:spChg chg="add mod">
          <ac:chgData name="Satish, Nitin" userId="f2ecb18b-41e0-4ce1-8908-feb500df1510" providerId="ADAL" clId="{3DD8B593-4C2C-4CB9-826D-B4E86314D082}" dt="2023-08-17T11:07:26.142" v="1282" actId="20577"/>
          <ac:spMkLst>
            <pc:docMk/>
            <pc:sldMk cId="1271412440" sldId="2147376102"/>
            <ac:spMk id="48" creationId="{B89350DA-0DF2-F7CF-407C-F51C2F70A0A2}"/>
          </ac:spMkLst>
        </pc:spChg>
        <pc:spChg chg="add mod">
          <ac:chgData name="Satish, Nitin" userId="f2ecb18b-41e0-4ce1-8908-feb500df1510" providerId="ADAL" clId="{3DD8B593-4C2C-4CB9-826D-B4E86314D082}" dt="2023-08-17T06:58:39.366" v="399" actId="14100"/>
          <ac:spMkLst>
            <pc:docMk/>
            <pc:sldMk cId="1271412440" sldId="2147376102"/>
            <ac:spMk id="49" creationId="{34D3838F-F3C1-3F05-A352-5B5E38C8CBA4}"/>
          </ac:spMkLst>
        </pc:spChg>
        <pc:spChg chg="del">
          <ac:chgData name="Satish, Nitin" userId="f2ecb18b-41e0-4ce1-8908-feb500df1510" providerId="ADAL" clId="{3DD8B593-4C2C-4CB9-826D-B4E86314D082}" dt="2023-08-17T06:38:49.045" v="241" actId="478"/>
          <ac:spMkLst>
            <pc:docMk/>
            <pc:sldMk cId="1271412440" sldId="2147376102"/>
            <ac:spMk id="50" creationId="{758D1E95-818F-C013-05FE-7D450A83EF4E}"/>
          </ac:spMkLst>
        </pc:spChg>
        <pc:spChg chg="add mod">
          <ac:chgData name="Satish, Nitin" userId="f2ecb18b-41e0-4ce1-8908-feb500df1510" providerId="ADAL" clId="{3DD8B593-4C2C-4CB9-826D-B4E86314D082}" dt="2023-08-17T06:59:20.016" v="411" actId="20577"/>
          <ac:spMkLst>
            <pc:docMk/>
            <pc:sldMk cId="1271412440" sldId="2147376102"/>
            <ac:spMk id="51" creationId="{0A1BDF37-FFB6-95D3-387E-0761B72CAFD1}"/>
          </ac:spMkLst>
        </pc:spChg>
        <pc:spChg chg="add del">
          <ac:chgData name="Satish, Nitin" userId="f2ecb18b-41e0-4ce1-8908-feb500df1510" providerId="ADAL" clId="{3DD8B593-4C2C-4CB9-826D-B4E86314D082}" dt="2023-08-17T11:06:32.922" v="1261" actId="478"/>
          <ac:spMkLst>
            <pc:docMk/>
            <pc:sldMk cId="1271412440" sldId="2147376102"/>
            <ac:spMk id="53" creationId="{3B1E0E28-0240-1EE6-FAAC-B2FD059E621E}"/>
          </ac:spMkLst>
        </pc:spChg>
        <pc:spChg chg="add del">
          <ac:chgData name="Satish, Nitin" userId="f2ecb18b-41e0-4ce1-8908-feb500df1510" providerId="ADAL" clId="{3DD8B593-4C2C-4CB9-826D-B4E86314D082}" dt="2023-08-17T07:00:36.979" v="414" actId="478"/>
          <ac:spMkLst>
            <pc:docMk/>
            <pc:sldMk cId="1271412440" sldId="2147376102"/>
            <ac:spMk id="55" creationId="{EF1096FF-4A6D-6034-7FF0-5D7A793CA000}"/>
          </ac:spMkLst>
        </pc:spChg>
        <pc:spChg chg="add del mod">
          <ac:chgData name="Satish, Nitin" userId="f2ecb18b-41e0-4ce1-8908-feb500df1510" providerId="ADAL" clId="{3DD8B593-4C2C-4CB9-826D-B4E86314D082}" dt="2023-08-17T11:06:34.841" v="1262" actId="478"/>
          <ac:spMkLst>
            <pc:docMk/>
            <pc:sldMk cId="1271412440" sldId="2147376102"/>
            <ac:spMk id="56" creationId="{B9CD0848-44EB-A6E6-BCAE-F3AEB830D43A}"/>
          </ac:spMkLst>
        </pc:spChg>
        <pc:spChg chg="add del mod">
          <ac:chgData name="Satish, Nitin" userId="f2ecb18b-41e0-4ce1-8908-feb500df1510" providerId="ADAL" clId="{3DD8B593-4C2C-4CB9-826D-B4E86314D082}" dt="2023-08-17T11:06:30.737" v="1260" actId="478"/>
          <ac:spMkLst>
            <pc:docMk/>
            <pc:sldMk cId="1271412440" sldId="2147376102"/>
            <ac:spMk id="57" creationId="{7264D261-08D1-4A66-1A2D-CDB3C2A1B08C}"/>
          </ac:spMkLst>
        </pc:spChg>
        <pc:spChg chg="add mod">
          <ac:chgData name="Satish, Nitin" userId="f2ecb18b-41e0-4ce1-8908-feb500df1510" providerId="ADAL" clId="{3DD8B593-4C2C-4CB9-826D-B4E86314D082}" dt="2023-08-17T11:09:34.349" v="1285" actId="1076"/>
          <ac:spMkLst>
            <pc:docMk/>
            <pc:sldMk cId="1271412440" sldId="2147376102"/>
            <ac:spMk id="66" creationId="{B0C4E880-951D-06E8-A16B-20DA452B713D}"/>
          </ac:spMkLst>
        </pc:spChg>
        <pc:spChg chg="add mod">
          <ac:chgData name="Satish, Nitin" userId="f2ecb18b-41e0-4ce1-8908-feb500df1510" providerId="ADAL" clId="{3DD8B593-4C2C-4CB9-826D-B4E86314D082}" dt="2023-08-17T11:09:41.052" v="1287" actId="1076"/>
          <ac:spMkLst>
            <pc:docMk/>
            <pc:sldMk cId="1271412440" sldId="2147376102"/>
            <ac:spMk id="67" creationId="{272B0E59-4DA1-0C27-3EA0-CD5BE2BDD753}"/>
          </ac:spMkLst>
        </pc:spChg>
        <pc:spChg chg="add mod">
          <ac:chgData name="Satish, Nitin" userId="f2ecb18b-41e0-4ce1-8908-feb500df1510" providerId="ADAL" clId="{3DD8B593-4C2C-4CB9-826D-B4E86314D082}" dt="2023-08-17T11:11:17.789" v="1296" actId="14100"/>
          <ac:spMkLst>
            <pc:docMk/>
            <pc:sldMk cId="1271412440" sldId="2147376102"/>
            <ac:spMk id="68" creationId="{209B0766-1232-198D-DB03-38CB475A0726}"/>
          </ac:spMkLst>
        </pc:spChg>
        <pc:picChg chg="add mod">
          <ac:chgData name="Satish, Nitin" userId="f2ecb18b-41e0-4ce1-8908-feb500df1510" providerId="ADAL" clId="{3DD8B593-4C2C-4CB9-826D-B4E86314D082}" dt="2023-08-17T11:06:46.213" v="1269" actId="1076"/>
          <ac:picMkLst>
            <pc:docMk/>
            <pc:sldMk cId="1271412440" sldId="2147376102"/>
            <ac:picMk id="2" creationId="{AE8D4824-135E-4EC0-36B8-6A4713955C13}"/>
          </ac:picMkLst>
        </pc:picChg>
        <pc:picChg chg="add mod">
          <ac:chgData name="Satish, Nitin" userId="f2ecb18b-41e0-4ce1-8908-feb500df1510" providerId="ADAL" clId="{3DD8B593-4C2C-4CB9-826D-B4E86314D082}" dt="2023-08-17T11:06:50.119" v="1270" actId="1076"/>
          <ac:picMkLst>
            <pc:docMk/>
            <pc:sldMk cId="1271412440" sldId="2147376102"/>
            <ac:picMk id="3" creationId="{F0DF46A5-C888-B0E5-38AA-41B6E995E3AD}"/>
          </ac:picMkLst>
        </pc:picChg>
        <pc:picChg chg="add mod">
          <ac:chgData name="Satish, Nitin" userId="f2ecb18b-41e0-4ce1-8908-feb500df1510" providerId="ADAL" clId="{3DD8B593-4C2C-4CB9-826D-B4E86314D082}" dt="2023-08-17T11:06:52.822" v="1271" actId="1076"/>
          <ac:picMkLst>
            <pc:docMk/>
            <pc:sldMk cId="1271412440" sldId="2147376102"/>
            <ac:picMk id="4" creationId="{9CFC278E-973E-9AB7-9822-69B2353412F6}"/>
          </ac:picMkLst>
        </pc:picChg>
        <pc:picChg chg="add mod">
          <ac:chgData name="Satish, Nitin" userId="f2ecb18b-41e0-4ce1-8908-feb500df1510" providerId="ADAL" clId="{3DD8B593-4C2C-4CB9-826D-B4E86314D082}" dt="2023-08-17T11:06:56.539" v="1272" actId="1076"/>
          <ac:picMkLst>
            <pc:docMk/>
            <pc:sldMk cId="1271412440" sldId="2147376102"/>
            <ac:picMk id="7" creationId="{FB2E6BFC-8769-D851-7FFD-2151848E9871}"/>
          </ac:picMkLst>
        </pc:picChg>
        <pc:picChg chg="del">
          <ac:chgData name="Satish, Nitin" userId="f2ecb18b-41e0-4ce1-8908-feb500df1510" providerId="ADAL" clId="{3DD8B593-4C2C-4CB9-826D-B4E86314D082}" dt="2023-08-17T06:38:56.320" v="242" actId="478"/>
          <ac:picMkLst>
            <pc:docMk/>
            <pc:sldMk cId="1271412440" sldId="2147376102"/>
            <ac:picMk id="8" creationId="{C2234D20-CD6D-7B24-05C8-DFA743A230B2}"/>
          </ac:picMkLst>
        </pc:picChg>
        <pc:picChg chg="add mod">
          <ac:chgData name="Satish, Nitin" userId="f2ecb18b-41e0-4ce1-8908-feb500df1510" providerId="ADAL" clId="{3DD8B593-4C2C-4CB9-826D-B4E86314D082}" dt="2023-08-17T11:07:00.194" v="1273" actId="1076"/>
          <ac:picMkLst>
            <pc:docMk/>
            <pc:sldMk cId="1271412440" sldId="2147376102"/>
            <ac:picMk id="9" creationId="{C2BA62AD-5059-0A01-662D-3BE8D1E6D660}"/>
          </ac:picMkLst>
        </pc:picChg>
        <pc:picChg chg="del">
          <ac:chgData name="Satish, Nitin" userId="f2ecb18b-41e0-4ce1-8908-feb500df1510" providerId="ADAL" clId="{3DD8B593-4C2C-4CB9-826D-B4E86314D082}" dt="2023-08-17T06:38:49.045" v="241" actId="478"/>
          <ac:picMkLst>
            <pc:docMk/>
            <pc:sldMk cId="1271412440" sldId="2147376102"/>
            <ac:picMk id="10" creationId="{4E1AEC7F-DB67-7638-AD60-069909AAAB0E}"/>
          </ac:picMkLst>
        </pc:picChg>
        <pc:picChg chg="add mod">
          <ac:chgData name="Satish, Nitin" userId="f2ecb18b-41e0-4ce1-8908-feb500df1510" providerId="ADAL" clId="{3DD8B593-4C2C-4CB9-826D-B4E86314D082}" dt="2023-08-17T11:07:04.725" v="1274" actId="1076"/>
          <ac:picMkLst>
            <pc:docMk/>
            <pc:sldMk cId="1271412440" sldId="2147376102"/>
            <ac:picMk id="11" creationId="{2FC1D331-4A36-FD4C-5F83-F8DCCACC24D9}"/>
          </ac:picMkLst>
        </pc:picChg>
        <pc:picChg chg="del">
          <ac:chgData name="Satish, Nitin" userId="f2ecb18b-41e0-4ce1-8908-feb500df1510" providerId="ADAL" clId="{3DD8B593-4C2C-4CB9-826D-B4E86314D082}" dt="2023-08-17T06:38:49.045" v="241" actId="478"/>
          <ac:picMkLst>
            <pc:docMk/>
            <pc:sldMk cId="1271412440" sldId="2147376102"/>
            <ac:picMk id="12" creationId="{115EF2C2-4885-63D7-5892-2738B763C6A3}"/>
          </ac:picMkLst>
        </pc:picChg>
        <pc:picChg chg="del">
          <ac:chgData name="Satish, Nitin" userId="f2ecb18b-41e0-4ce1-8908-feb500df1510" providerId="ADAL" clId="{3DD8B593-4C2C-4CB9-826D-B4E86314D082}" dt="2023-08-17T06:38:49.045" v="241" actId="478"/>
          <ac:picMkLst>
            <pc:docMk/>
            <pc:sldMk cId="1271412440" sldId="2147376102"/>
            <ac:picMk id="13" creationId="{72F28C0F-43E7-4A32-8639-0A371175CF08}"/>
          </ac:picMkLst>
        </pc:picChg>
        <pc:picChg chg="del">
          <ac:chgData name="Satish, Nitin" userId="f2ecb18b-41e0-4ce1-8908-feb500df1510" providerId="ADAL" clId="{3DD8B593-4C2C-4CB9-826D-B4E86314D082}" dt="2023-08-17T06:38:49.045" v="241" actId="478"/>
          <ac:picMkLst>
            <pc:docMk/>
            <pc:sldMk cId="1271412440" sldId="2147376102"/>
            <ac:picMk id="14" creationId="{45FF195A-ACE1-C2D4-5E68-5C008B45E7A6}"/>
          </ac:picMkLst>
        </pc:picChg>
        <pc:picChg chg="del">
          <ac:chgData name="Satish, Nitin" userId="f2ecb18b-41e0-4ce1-8908-feb500df1510" providerId="ADAL" clId="{3DD8B593-4C2C-4CB9-826D-B4E86314D082}" dt="2023-08-17T06:38:49.045" v="241" actId="478"/>
          <ac:picMkLst>
            <pc:docMk/>
            <pc:sldMk cId="1271412440" sldId="2147376102"/>
            <ac:picMk id="16" creationId="{4245EA2F-D5EB-B94C-FA72-4569673656DA}"/>
          </ac:picMkLst>
        </pc:picChg>
        <pc:picChg chg="del">
          <ac:chgData name="Satish, Nitin" userId="f2ecb18b-41e0-4ce1-8908-feb500df1510" providerId="ADAL" clId="{3DD8B593-4C2C-4CB9-826D-B4E86314D082}" dt="2023-08-17T06:38:49.045" v="241" actId="478"/>
          <ac:picMkLst>
            <pc:docMk/>
            <pc:sldMk cId="1271412440" sldId="2147376102"/>
            <ac:picMk id="30" creationId="{3C487638-19F8-B79D-C02B-A8C6E52C16E8}"/>
          </ac:picMkLst>
        </pc:picChg>
        <pc:picChg chg="del">
          <ac:chgData name="Satish, Nitin" userId="f2ecb18b-41e0-4ce1-8908-feb500df1510" providerId="ADAL" clId="{3DD8B593-4C2C-4CB9-826D-B4E86314D082}" dt="2023-08-17T06:39:02.480" v="243" actId="478"/>
          <ac:picMkLst>
            <pc:docMk/>
            <pc:sldMk cId="1271412440" sldId="2147376102"/>
            <ac:picMk id="52" creationId="{96B81786-3CB3-5004-6A17-AE6018B38A9C}"/>
          </ac:picMkLst>
        </pc:picChg>
        <pc:picChg chg="del">
          <ac:chgData name="Satish, Nitin" userId="f2ecb18b-41e0-4ce1-8908-feb500df1510" providerId="ADAL" clId="{3DD8B593-4C2C-4CB9-826D-B4E86314D082}" dt="2023-08-17T06:38:49.045" v="241" actId="478"/>
          <ac:picMkLst>
            <pc:docMk/>
            <pc:sldMk cId="1271412440" sldId="2147376102"/>
            <ac:picMk id="54" creationId="{A2C04FD1-5ABC-527D-A0F8-D9BC1AEDAD3C}"/>
          </ac:picMkLst>
        </pc:picChg>
        <pc:picChg chg="del">
          <ac:chgData name="Satish, Nitin" userId="f2ecb18b-41e0-4ce1-8908-feb500df1510" providerId="ADAL" clId="{3DD8B593-4C2C-4CB9-826D-B4E86314D082}" dt="2023-08-17T06:38:49.045" v="241" actId="478"/>
          <ac:picMkLst>
            <pc:docMk/>
            <pc:sldMk cId="1271412440" sldId="2147376102"/>
            <ac:picMk id="58" creationId="{7571FDD4-1321-7666-EC5C-024777904BE0}"/>
          </ac:picMkLst>
        </pc:picChg>
        <pc:picChg chg="del">
          <ac:chgData name="Satish, Nitin" userId="f2ecb18b-41e0-4ce1-8908-feb500df1510" providerId="ADAL" clId="{3DD8B593-4C2C-4CB9-826D-B4E86314D082}" dt="2023-08-17T06:38:49.045" v="241" actId="478"/>
          <ac:picMkLst>
            <pc:docMk/>
            <pc:sldMk cId="1271412440" sldId="2147376102"/>
            <ac:picMk id="60" creationId="{47426515-086D-BFF7-0609-A749DE34ECF6}"/>
          </ac:picMkLst>
        </pc:picChg>
        <pc:picChg chg="del">
          <ac:chgData name="Satish, Nitin" userId="f2ecb18b-41e0-4ce1-8908-feb500df1510" providerId="ADAL" clId="{3DD8B593-4C2C-4CB9-826D-B4E86314D082}" dt="2023-08-17T06:38:49.045" v="241" actId="478"/>
          <ac:picMkLst>
            <pc:docMk/>
            <pc:sldMk cId="1271412440" sldId="2147376102"/>
            <ac:picMk id="61" creationId="{24B02018-EF02-4A33-B93E-4E4952963815}"/>
          </ac:picMkLst>
        </pc:picChg>
        <pc:picChg chg="del">
          <ac:chgData name="Satish, Nitin" userId="f2ecb18b-41e0-4ce1-8908-feb500df1510" providerId="ADAL" clId="{3DD8B593-4C2C-4CB9-826D-B4E86314D082}" dt="2023-08-17T06:38:49.045" v="241" actId="478"/>
          <ac:picMkLst>
            <pc:docMk/>
            <pc:sldMk cId="1271412440" sldId="2147376102"/>
            <ac:picMk id="63" creationId="{E474CAC2-F684-47DA-B762-CC8E51D06059}"/>
          </ac:picMkLst>
        </pc:picChg>
        <pc:cxnChg chg="add del mod">
          <ac:chgData name="Satish, Nitin" userId="f2ecb18b-41e0-4ce1-8908-feb500df1510" providerId="ADAL" clId="{3DD8B593-4C2C-4CB9-826D-B4E86314D082}" dt="2023-08-17T06:48:25.940" v="331" actId="478"/>
          <ac:cxnSpMkLst>
            <pc:docMk/>
            <pc:sldMk cId="1271412440" sldId="2147376102"/>
            <ac:cxnSpMk id="17" creationId="{92678227-8F1A-A394-3826-9FD44DA9764D}"/>
          </ac:cxnSpMkLst>
        </pc:cxnChg>
        <pc:cxnChg chg="del mod">
          <ac:chgData name="Satish, Nitin" userId="f2ecb18b-41e0-4ce1-8908-feb500df1510" providerId="ADAL" clId="{3DD8B593-4C2C-4CB9-826D-B4E86314D082}" dt="2023-08-17T06:38:49.045" v="241" actId="478"/>
          <ac:cxnSpMkLst>
            <pc:docMk/>
            <pc:sldMk cId="1271412440" sldId="2147376102"/>
            <ac:cxnSpMk id="18" creationId="{D2C31B1B-C8CF-A6EE-D511-DEBCFF7AE9BE}"/>
          </ac:cxnSpMkLst>
        </pc:cxnChg>
        <pc:cxnChg chg="add del mod">
          <ac:chgData name="Satish, Nitin" userId="f2ecb18b-41e0-4ce1-8908-feb500df1510" providerId="ADAL" clId="{3DD8B593-4C2C-4CB9-826D-B4E86314D082}" dt="2023-08-17T06:48:01.477" v="324" actId="478"/>
          <ac:cxnSpMkLst>
            <pc:docMk/>
            <pc:sldMk cId="1271412440" sldId="2147376102"/>
            <ac:cxnSpMk id="20" creationId="{B9D17339-A5F6-7C0F-F579-3A3B54613F16}"/>
          </ac:cxnSpMkLst>
        </pc:cxnChg>
        <pc:cxnChg chg="del mod">
          <ac:chgData name="Satish, Nitin" userId="f2ecb18b-41e0-4ce1-8908-feb500df1510" providerId="ADAL" clId="{3DD8B593-4C2C-4CB9-826D-B4E86314D082}" dt="2023-08-17T06:38:49.045" v="241" actId="478"/>
          <ac:cxnSpMkLst>
            <pc:docMk/>
            <pc:sldMk cId="1271412440" sldId="2147376102"/>
            <ac:cxnSpMk id="22" creationId="{EEC1D081-2E41-A057-584F-6E0F08E5980C}"/>
          </ac:cxnSpMkLst>
        </pc:cxnChg>
        <pc:cxnChg chg="add del mod">
          <ac:chgData name="Satish, Nitin" userId="f2ecb18b-41e0-4ce1-8908-feb500df1510" providerId="ADAL" clId="{3DD8B593-4C2C-4CB9-826D-B4E86314D082}" dt="2023-08-17T06:50:26.296" v="349" actId="478"/>
          <ac:cxnSpMkLst>
            <pc:docMk/>
            <pc:sldMk cId="1271412440" sldId="2147376102"/>
            <ac:cxnSpMk id="23" creationId="{47500D9B-3915-EB96-F5B1-1EE8488B6098}"/>
          </ac:cxnSpMkLst>
        </pc:cxnChg>
        <pc:cxnChg chg="add del mod">
          <ac:chgData name="Satish, Nitin" userId="f2ecb18b-41e0-4ce1-8908-feb500df1510" providerId="ADAL" clId="{3DD8B593-4C2C-4CB9-826D-B4E86314D082}" dt="2023-08-17T11:06:37.084" v="1264" actId="478"/>
          <ac:cxnSpMkLst>
            <pc:docMk/>
            <pc:sldMk cId="1271412440" sldId="2147376102"/>
            <ac:cxnSpMk id="25" creationId="{9142BDA4-28D3-44EC-95E2-9C04AA7B1306}"/>
          </ac:cxnSpMkLst>
        </pc:cxnChg>
        <pc:cxnChg chg="del mod">
          <ac:chgData name="Satish, Nitin" userId="f2ecb18b-41e0-4ce1-8908-feb500df1510" providerId="ADAL" clId="{3DD8B593-4C2C-4CB9-826D-B4E86314D082}" dt="2023-08-17T06:38:49.045" v="241" actId="478"/>
          <ac:cxnSpMkLst>
            <pc:docMk/>
            <pc:sldMk cId="1271412440" sldId="2147376102"/>
            <ac:cxnSpMk id="27" creationId="{4F0AAEC5-9A9E-9684-6C29-645A8C622AAB}"/>
          </ac:cxnSpMkLst>
        </pc:cxnChg>
        <pc:cxnChg chg="add del mod">
          <ac:chgData name="Satish, Nitin" userId="f2ecb18b-41e0-4ce1-8908-feb500df1510" providerId="ADAL" clId="{3DD8B593-4C2C-4CB9-826D-B4E86314D082}" dt="2023-08-17T06:55:03.099" v="372" actId="478"/>
          <ac:cxnSpMkLst>
            <pc:docMk/>
            <pc:sldMk cId="1271412440" sldId="2147376102"/>
            <ac:cxnSpMk id="31" creationId="{F6855C26-EE1A-F859-6BDA-50BFE8A65C36}"/>
          </ac:cxnSpMkLst>
        </pc:cxnChg>
        <pc:cxnChg chg="add mod">
          <ac:chgData name="Satish, Nitin" userId="f2ecb18b-41e0-4ce1-8908-feb500df1510" providerId="ADAL" clId="{3DD8B593-4C2C-4CB9-826D-B4E86314D082}" dt="2023-08-17T11:07:00.194" v="1273" actId="1076"/>
          <ac:cxnSpMkLst>
            <pc:docMk/>
            <pc:sldMk cId="1271412440" sldId="2147376102"/>
            <ac:cxnSpMk id="34" creationId="{2BACB484-2780-8B2F-6543-2354E0209480}"/>
          </ac:cxnSpMkLst>
        </pc:cxnChg>
        <pc:cxnChg chg="add mod">
          <ac:chgData name="Satish, Nitin" userId="f2ecb18b-41e0-4ce1-8908-feb500df1510" providerId="ADAL" clId="{3DD8B593-4C2C-4CB9-826D-B4E86314D082}" dt="2023-08-17T11:07:00.194" v="1273" actId="1076"/>
          <ac:cxnSpMkLst>
            <pc:docMk/>
            <pc:sldMk cId="1271412440" sldId="2147376102"/>
            <ac:cxnSpMk id="36" creationId="{712DC88D-B4C4-30DC-585B-F082EE2FCACA}"/>
          </ac:cxnSpMkLst>
        </pc:cxnChg>
        <pc:cxnChg chg="add mod">
          <ac:chgData name="Satish, Nitin" userId="f2ecb18b-41e0-4ce1-8908-feb500df1510" providerId="ADAL" clId="{3DD8B593-4C2C-4CB9-826D-B4E86314D082}" dt="2023-08-17T11:07:04.725" v="1274" actId="1076"/>
          <ac:cxnSpMkLst>
            <pc:docMk/>
            <pc:sldMk cId="1271412440" sldId="2147376102"/>
            <ac:cxnSpMk id="38" creationId="{C5265110-7B50-6180-705A-6377F4E1B335}"/>
          </ac:cxnSpMkLst>
        </pc:cxnChg>
        <pc:cxnChg chg="add del mod">
          <ac:chgData name="Satish, Nitin" userId="f2ecb18b-41e0-4ce1-8908-feb500df1510" providerId="ADAL" clId="{3DD8B593-4C2C-4CB9-826D-B4E86314D082}" dt="2023-08-17T11:06:39.121" v="1266" actId="478"/>
          <ac:cxnSpMkLst>
            <pc:docMk/>
            <pc:sldMk cId="1271412440" sldId="2147376102"/>
            <ac:cxnSpMk id="43" creationId="{F91449A4-4FDD-5CF9-A3D3-440D3F6E074A}"/>
          </ac:cxnSpMkLst>
        </pc:cxnChg>
        <pc:cxnChg chg="del mod">
          <ac:chgData name="Satish, Nitin" userId="f2ecb18b-41e0-4ce1-8908-feb500df1510" providerId="ADAL" clId="{3DD8B593-4C2C-4CB9-826D-B4E86314D082}" dt="2023-08-17T06:38:49.045" v="241" actId="478"/>
          <ac:cxnSpMkLst>
            <pc:docMk/>
            <pc:sldMk cId="1271412440" sldId="2147376102"/>
            <ac:cxnSpMk id="44" creationId="{C1336D4D-0040-9930-F8AE-8B219C38B3EE}"/>
          </ac:cxnSpMkLst>
        </pc:cxnChg>
      </pc:sldChg>
      <pc:sldChg chg="addSp delSp modSp add mod">
        <pc:chgData name="Satish, Nitin" userId="f2ecb18b-41e0-4ce1-8908-feb500df1510" providerId="ADAL" clId="{3DD8B593-4C2C-4CB9-826D-B4E86314D082}" dt="2023-08-17T08:40:02.809" v="972" actId="1076"/>
        <pc:sldMkLst>
          <pc:docMk/>
          <pc:sldMk cId="3412336675" sldId="2147376103"/>
        </pc:sldMkLst>
        <pc:spChg chg="mod">
          <ac:chgData name="Satish, Nitin" userId="f2ecb18b-41e0-4ce1-8908-feb500df1510" providerId="ADAL" clId="{3DD8B593-4C2C-4CB9-826D-B4E86314D082}" dt="2023-08-17T08:37:43.835" v="892" actId="1076"/>
          <ac:spMkLst>
            <pc:docMk/>
            <pc:sldMk cId="3412336675" sldId="2147376103"/>
            <ac:spMk id="5" creationId="{3ACBC9A2-75A7-C8EF-68ED-531DF1C36A06}"/>
          </ac:spMkLst>
        </pc:spChg>
        <pc:spChg chg="del mod">
          <ac:chgData name="Satish, Nitin" userId="f2ecb18b-41e0-4ce1-8908-feb500df1510" providerId="ADAL" clId="{3DD8B593-4C2C-4CB9-826D-B4E86314D082}" dt="2023-08-17T07:06:04.916" v="449" actId="478"/>
          <ac:spMkLst>
            <pc:docMk/>
            <pc:sldMk cId="3412336675" sldId="2147376103"/>
            <ac:spMk id="6" creationId="{39279461-A127-1A5E-0E4A-D67DE072F440}"/>
          </ac:spMkLst>
        </pc:spChg>
        <pc:spChg chg="add mod">
          <ac:chgData name="Satish, Nitin" userId="f2ecb18b-41e0-4ce1-8908-feb500df1510" providerId="ADAL" clId="{3DD8B593-4C2C-4CB9-826D-B4E86314D082}" dt="2023-08-17T07:08:49.178" v="477" actId="20577"/>
          <ac:spMkLst>
            <pc:docMk/>
            <pc:sldMk cId="3412336675" sldId="2147376103"/>
            <ac:spMk id="24" creationId="{319571C5-A3EA-FDEC-C94D-EAE6E7273D19}"/>
          </ac:spMkLst>
        </pc:spChg>
        <pc:spChg chg="add mod">
          <ac:chgData name="Satish, Nitin" userId="f2ecb18b-41e0-4ce1-8908-feb500df1510" providerId="ADAL" clId="{3DD8B593-4C2C-4CB9-826D-B4E86314D082}" dt="2023-08-17T07:21:08.212" v="484" actId="14100"/>
          <ac:spMkLst>
            <pc:docMk/>
            <pc:sldMk cId="3412336675" sldId="2147376103"/>
            <ac:spMk id="25" creationId="{30C92575-2187-9B7B-9EB3-5C5A61E3EC63}"/>
          </ac:spMkLst>
        </pc:spChg>
        <pc:spChg chg="add mod">
          <ac:chgData name="Satish, Nitin" userId="f2ecb18b-41e0-4ce1-8908-feb500df1510" providerId="ADAL" clId="{3DD8B593-4C2C-4CB9-826D-B4E86314D082}" dt="2023-08-17T07:21:13.695" v="485" actId="14100"/>
          <ac:spMkLst>
            <pc:docMk/>
            <pc:sldMk cId="3412336675" sldId="2147376103"/>
            <ac:spMk id="26" creationId="{BB4DC7F5-98A8-B981-1680-1E70DFD407F3}"/>
          </ac:spMkLst>
        </pc:spChg>
        <pc:spChg chg="add mod">
          <ac:chgData name="Satish, Nitin" userId="f2ecb18b-41e0-4ce1-8908-feb500df1510" providerId="ADAL" clId="{3DD8B593-4C2C-4CB9-826D-B4E86314D082}" dt="2023-08-17T07:27:13.441" v="611" actId="20577"/>
          <ac:spMkLst>
            <pc:docMk/>
            <pc:sldMk cId="3412336675" sldId="2147376103"/>
            <ac:spMk id="28" creationId="{00369FF2-2127-1FDF-DF2B-8B151AC9DAE5}"/>
          </ac:spMkLst>
        </pc:spChg>
        <pc:spChg chg="add mod">
          <ac:chgData name="Satish, Nitin" userId="f2ecb18b-41e0-4ce1-8908-feb500df1510" providerId="ADAL" clId="{3DD8B593-4C2C-4CB9-826D-B4E86314D082}" dt="2023-08-17T07:26:57.673" v="571" actId="14100"/>
          <ac:spMkLst>
            <pc:docMk/>
            <pc:sldMk cId="3412336675" sldId="2147376103"/>
            <ac:spMk id="29" creationId="{E692A0BD-AB91-85FF-6407-5B0B8C943F69}"/>
          </ac:spMkLst>
        </pc:spChg>
        <pc:spChg chg="add mod">
          <ac:chgData name="Satish, Nitin" userId="f2ecb18b-41e0-4ce1-8908-feb500df1510" providerId="ADAL" clId="{3DD8B593-4C2C-4CB9-826D-B4E86314D082}" dt="2023-08-17T08:38:25.621" v="932" actId="20577"/>
          <ac:spMkLst>
            <pc:docMk/>
            <pc:sldMk cId="3412336675" sldId="2147376103"/>
            <ac:spMk id="31" creationId="{9E9C482D-B1CA-250D-0B54-DF1FEC50B981}"/>
          </ac:spMkLst>
        </pc:spChg>
        <pc:spChg chg="del">
          <ac:chgData name="Satish, Nitin" userId="f2ecb18b-41e0-4ce1-8908-feb500df1510" providerId="ADAL" clId="{3DD8B593-4C2C-4CB9-826D-B4E86314D082}" dt="2023-08-17T07:04:27.623" v="424" actId="478"/>
          <ac:spMkLst>
            <pc:docMk/>
            <pc:sldMk cId="3412336675" sldId="2147376103"/>
            <ac:spMk id="47" creationId="{7DC3D980-A968-0681-933B-B8E650CE4D1F}"/>
          </ac:spMkLst>
        </pc:spChg>
        <pc:spChg chg="del">
          <ac:chgData name="Satish, Nitin" userId="f2ecb18b-41e0-4ce1-8908-feb500df1510" providerId="ADAL" clId="{3DD8B593-4C2C-4CB9-826D-B4E86314D082}" dt="2023-08-17T07:04:27.623" v="424" actId="478"/>
          <ac:spMkLst>
            <pc:docMk/>
            <pc:sldMk cId="3412336675" sldId="2147376103"/>
            <ac:spMk id="50" creationId="{758D1E95-818F-C013-05FE-7D450A83EF4E}"/>
          </ac:spMkLst>
        </pc:spChg>
        <pc:picChg chg="del">
          <ac:chgData name="Satish, Nitin" userId="f2ecb18b-41e0-4ce1-8908-feb500df1510" providerId="ADAL" clId="{3DD8B593-4C2C-4CB9-826D-B4E86314D082}" dt="2023-08-17T07:04:29.620" v="425" actId="478"/>
          <ac:picMkLst>
            <pc:docMk/>
            <pc:sldMk cId="3412336675" sldId="2147376103"/>
            <ac:picMk id="8" creationId="{C2234D20-CD6D-7B24-05C8-DFA743A230B2}"/>
          </ac:picMkLst>
        </pc:picChg>
        <pc:picChg chg="del">
          <ac:chgData name="Satish, Nitin" userId="f2ecb18b-41e0-4ce1-8908-feb500df1510" providerId="ADAL" clId="{3DD8B593-4C2C-4CB9-826D-B4E86314D082}" dt="2023-08-17T07:04:27.623" v="424" actId="478"/>
          <ac:picMkLst>
            <pc:docMk/>
            <pc:sldMk cId="3412336675" sldId="2147376103"/>
            <ac:picMk id="10" creationId="{4E1AEC7F-DB67-7638-AD60-069909AAAB0E}"/>
          </ac:picMkLst>
        </pc:picChg>
        <pc:picChg chg="del">
          <ac:chgData name="Satish, Nitin" userId="f2ecb18b-41e0-4ce1-8908-feb500df1510" providerId="ADAL" clId="{3DD8B593-4C2C-4CB9-826D-B4E86314D082}" dt="2023-08-17T07:04:31.848" v="426" actId="478"/>
          <ac:picMkLst>
            <pc:docMk/>
            <pc:sldMk cId="3412336675" sldId="2147376103"/>
            <ac:picMk id="12" creationId="{115EF2C2-4885-63D7-5892-2738B763C6A3}"/>
          </ac:picMkLst>
        </pc:picChg>
        <pc:picChg chg="del">
          <ac:chgData name="Satish, Nitin" userId="f2ecb18b-41e0-4ce1-8908-feb500df1510" providerId="ADAL" clId="{3DD8B593-4C2C-4CB9-826D-B4E86314D082}" dt="2023-08-17T07:04:27.623" v="424" actId="478"/>
          <ac:picMkLst>
            <pc:docMk/>
            <pc:sldMk cId="3412336675" sldId="2147376103"/>
            <ac:picMk id="13" creationId="{72F28C0F-43E7-4A32-8639-0A371175CF08}"/>
          </ac:picMkLst>
        </pc:picChg>
        <pc:picChg chg="del">
          <ac:chgData name="Satish, Nitin" userId="f2ecb18b-41e0-4ce1-8908-feb500df1510" providerId="ADAL" clId="{3DD8B593-4C2C-4CB9-826D-B4E86314D082}" dt="2023-08-17T07:04:27.623" v="424" actId="478"/>
          <ac:picMkLst>
            <pc:docMk/>
            <pc:sldMk cId="3412336675" sldId="2147376103"/>
            <ac:picMk id="14" creationId="{45FF195A-ACE1-C2D4-5E68-5C008B45E7A6}"/>
          </ac:picMkLst>
        </pc:picChg>
        <pc:picChg chg="del">
          <ac:chgData name="Satish, Nitin" userId="f2ecb18b-41e0-4ce1-8908-feb500df1510" providerId="ADAL" clId="{3DD8B593-4C2C-4CB9-826D-B4E86314D082}" dt="2023-08-17T07:04:27.623" v="424" actId="478"/>
          <ac:picMkLst>
            <pc:docMk/>
            <pc:sldMk cId="3412336675" sldId="2147376103"/>
            <ac:picMk id="16" creationId="{4245EA2F-D5EB-B94C-FA72-4569673656DA}"/>
          </ac:picMkLst>
        </pc:picChg>
        <pc:picChg chg="del">
          <ac:chgData name="Satish, Nitin" userId="f2ecb18b-41e0-4ce1-8908-feb500df1510" providerId="ADAL" clId="{3DD8B593-4C2C-4CB9-826D-B4E86314D082}" dt="2023-08-17T07:04:27.623" v="424" actId="478"/>
          <ac:picMkLst>
            <pc:docMk/>
            <pc:sldMk cId="3412336675" sldId="2147376103"/>
            <ac:picMk id="30" creationId="{3C487638-19F8-B79D-C02B-A8C6E52C16E8}"/>
          </ac:picMkLst>
        </pc:picChg>
        <pc:picChg chg="mod">
          <ac:chgData name="Satish, Nitin" userId="f2ecb18b-41e0-4ce1-8908-feb500df1510" providerId="ADAL" clId="{3DD8B593-4C2C-4CB9-826D-B4E86314D082}" dt="2023-08-17T07:08:05.272" v="465" actId="1076"/>
          <ac:picMkLst>
            <pc:docMk/>
            <pc:sldMk cId="3412336675" sldId="2147376103"/>
            <ac:picMk id="52" creationId="{96B81786-3CB3-5004-6A17-AE6018B38A9C}"/>
          </ac:picMkLst>
        </pc:picChg>
        <pc:picChg chg="mod">
          <ac:chgData name="Satish, Nitin" userId="f2ecb18b-41e0-4ce1-8908-feb500df1510" providerId="ADAL" clId="{3DD8B593-4C2C-4CB9-826D-B4E86314D082}" dt="2023-08-17T08:40:02.809" v="972" actId="1076"/>
          <ac:picMkLst>
            <pc:docMk/>
            <pc:sldMk cId="3412336675" sldId="2147376103"/>
            <ac:picMk id="54" creationId="{A2C04FD1-5ABC-527D-A0F8-D9BC1AEDAD3C}"/>
          </ac:picMkLst>
        </pc:picChg>
        <pc:picChg chg="mod">
          <ac:chgData name="Satish, Nitin" userId="f2ecb18b-41e0-4ce1-8908-feb500df1510" providerId="ADAL" clId="{3DD8B593-4C2C-4CB9-826D-B4E86314D082}" dt="2023-08-17T07:05:17.772" v="443" actId="1076"/>
          <ac:picMkLst>
            <pc:docMk/>
            <pc:sldMk cId="3412336675" sldId="2147376103"/>
            <ac:picMk id="58" creationId="{7571FDD4-1321-7666-EC5C-024777904BE0}"/>
          </ac:picMkLst>
        </pc:picChg>
        <pc:picChg chg="mod">
          <ac:chgData name="Satish, Nitin" userId="f2ecb18b-41e0-4ce1-8908-feb500df1510" providerId="ADAL" clId="{3DD8B593-4C2C-4CB9-826D-B4E86314D082}" dt="2023-08-17T07:07:44.403" v="462" actId="1076"/>
          <ac:picMkLst>
            <pc:docMk/>
            <pc:sldMk cId="3412336675" sldId="2147376103"/>
            <ac:picMk id="60" creationId="{47426515-086D-BFF7-0609-A749DE34ECF6}"/>
          </ac:picMkLst>
        </pc:picChg>
        <pc:picChg chg="del mod">
          <ac:chgData name="Satish, Nitin" userId="f2ecb18b-41e0-4ce1-8908-feb500df1510" providerId="ADAL" clId="{3DD8B593-4C2C-4CB9-826D-B4E86314D082}" dt="2023-08-17T07:04:55.315" v="436" actId="478"/>
          <ac:picMkLst>
            <pc:docMk/>
            <pc:sldMk cId="3412336675" sldId="2147376103"/>
            <ac:picMk id="61" creationId="{24B02018-EF02-4A33-B93E-4E4952963815}"/>
          </ac:picMkLst>
        </pc:picChg>
        <pc:picChg chg="del mod">
          <ac:chgData name="Satish, Nitin" userId="f2ecb18b-41e0-4ce1-8908-feb500df1510" providerId="ADAL" clId="{3DD8B593-4C2C-4CB9-826D-B4E86314D082}" dt="2023-08-17T07:04:53.461" v="435" actId="478"/>
          <ac:picMkLst>
            <pc:docMk/>
            <pc:sldMk cId="3412336675" sldId="2147376103"/>
            <ac:picMk id="63" creationId="{E474CAC2-F684-47DA-B762-CC8E51D06059}"/>
          </ac:picMkLst>
        </pc:picChg>
        <pc:cxnChg chg="add mod">
          <ac:chgData name="Satish, Nitin" userId="f2ecb18b-41e0-4ce1-8908-feb500df1510" providerId="ADAL" clId="{3DD8B593-4C2C-4CB9-826D-B4E86314D082}" dt="2023-08-17T08:40:02.809" v="972" actId="1076"/>
          <ac:cxnSpMkLst>
            <pc:docMk/>
            <pc:sldMk cId="3412336675" sldId="2147376103"/>
            <ac:cxnSpMk id="3" creationId="{879A36DE-C0F4-C4D2-F0C9-B5FAD11E92EA}"/>
          </ac:cxnSpMkLst>
        </pc:cxnChg>
        <pc:cxnChg chg="add del mod">
          <ac:chgData name="Satish, Nitin" userId="f2ecb18b-41e0-4ce1-8908-feb500df1510" providerId="ADAL" clId="{3DD8B593-4C2C-4CB9-826D-B4E86314D082}" dt="2023-08-17T07:07:01.687" v="457" actId="478"/>
          <ac:cxnSpMkLst>
            <pc:docMk/>
            <pc:sldMk cId="3412336675" sldId="2147376103"/>
            <ac:cxnSpMk id="7" creationId="{44F16281-261A-C5DA-5C42-CA591E659A7A}"/>
          </ac:cxnSpMkLst>
        </pc:cxnChg>
        <pc:cxnChg chg="add mod">
          <ac:chgData name="Satish, Nitin" userId="f2ecb18b-41e0-4ce1-8908-feb500df1510" providerId="ADAL" clId="{3DD8B593-4C2C-4CB9-826D-B4E86314D082}" dt="2023-08-17T07:08:05.272" v="465" actId="1076"/>
          <ac:cxnSpMkLst>
            <pc:docMk/>
            <pc:sldMk cId="3412336675" sldId="2147376103"/>
            <ac:cxnSpMk id="11" creationId="{4A910C6E-472A-A1B5-D546-339B32C36036}"/>
          </ac:cxnSpMkLst>
        </pc:cxnChg>
        <pc:cxnChg chg="add mod">
          <ac:chgData name="Satish, Nitin" userId="f2ecb18b-41e0-4ce1-8908-feb500df1510" providerId="ADAL" clId="{3DD8B593-4C2C-4CB9-826D-B4E86314D082}" dt="2023-08-17T07:08:05.272" v="465" actId="1076"/>
          <ac:cxnSpMkLst>
            <pc:docMk/>
            <pc:sldMk cId="3412336675" sldId="2147376103"/>
            <ac:cxnSpMk id="17" creationId="{08BAA42B-B5F0-C6D8-4697-F512F38778A6}"/>
          </ac:cxnSpMkLst>
        </pc:cxnChg>
        <pc:cxnChg chg="del mod">
          <ac:chgData name="Satish, Nitin" userId="f2ecb18b-41e0-4ce1-8908-feb500df1510" providerId="ADAL" clId="{3DD8B593-4C2C-4CB9-826D-B4E86314D082}" dt="2023-08-17T07:04:27.623" v="424" actId="478"/>
          <ac:cxnSpMkLst>
            <pc:docMk/>
            <pc:sldMk cId="3412336675" sldId="2147376103"/>
            <ac:cxnSpMk id="18" creationId="{D2C31B1B-C8CF-A6EE-D511-DEBCFF7AE9BE}"/>
          </ac:cxnSpMkLst>
        </pc:cxnChg>
        <pc:cxnChg chg="del mod">
          <ac:chgData name="Satish, Nitin" userId="f2ecb18b-41e0-4ce1-8908-feb500df1510" providerId="ADAL" clId="{3DD8B593-4C2C-4CB9-826D-B4E86314D082}" dt="2023-08-17T07:04:27.623" v="424" actId="478"/>
          <ac:cxnSpMkLst>
            <pc:docMk/>
            <pc:sldMk cId="3412336675" sldId="2147376103"/>
            <ac:cxnSpMk id="22" creationId="{EEC1D081-2E41-A057-584F-6E0F08E5980C}"/>
          </ac:cxnSpMkLst>
        </pc:cxnChg>
        <pc:cxnChg chg="del mod">
          <ac:chgData name="Satish, Nitin" userId="f2ecb18b-41e0-4ce1-8908-feb500df1510" providerId="ADAL" clId="{3DD8B593-4C2C-4CB9-826D-B4E86314D082}" dt="2023-08-17T07:04:27.623" v="424" actId="478"/>
          <ac:cxnSpMkLst>
            <pc:docMk/>
            <pc:sldMk cId="3412336675" sldId="2147376103"/>
            <ac:cxnSpMk id="27" creationId="{4F0AAEC5-9A9E-9684-6C29-645A8C622AAB}"/>
          </ac:cxnSpMkLst>
        </pc:cxnChg>
        <pc:cxnChg chg="del mod">
          <ac:chgData name="Satish, Nitin" userId="f2ecb18b-41e0-4ce1-8908-feb500df1510" providerId="ADAL" clId="{3DD8B593-4C2C-4CB9-826D-B4E86314D082}" dt="2023-08-17T07:04:27.623" v="424" actId="478"/>
          <ac:cxnSpMkLst>
            <pc:docMk/>
            <pc:sldMk cId="3412336675" sldId="2147376103"/>
            <ac:cxnSpMk id="44" creationId="{C1336D4D-0040-9930-F8AE-8B219C38B3EE}"/>
          </ac:cxnSpMkLst>
        </pc:cxnChg>
      </pc:sldChg>
      <pc:sldChg chg="addSp delSp modSp add del mod">
        <pc:chgData name="Satish, Nitin" userId="f2ecb18b-41e0-4ce1-8908-feb500df1510" providerId="ADAL" clId="{3DD8B593-4C2C-4CB9-826D-B4E86314D082}" dt="2023-08-17T08:30:45.304" v="731" actId="47"/>
        <pc:sldMkLst>
          <pc:docMk/>
          <pc:sldMk cId="699250117" sldId="2147376104"/>
        </pc:sldMkLst>
        <pc:spChg chg="mod">
          <ac:chgData name="Satish, Nitin" userId="f2ecb18b-41e0-4ce1-8908-feb500df1510" providerId="ADAL" clId="{3DD8B593-4C2C-4CB9-826D-B4E86314D082}" dt="2023-08-17T07:39:05.435" v="640" actId="14100"/>
          <ac:spMkLst>
            <pc:docMk/>
            <pc:sldMk cId="699250117" sldId="2147376104"/>
            <ac:spMk id="5" creationId="{3ACBC9A2-75A7-C8EF-68ED-531DF1C36A06}"/>
          </ac:spMkLst>
        </pc:spChg>
        <pc:spChg chg="del">
          <ac:chgData name="Satish, Nitin" userId="f2ecb18b-41e0-4ce1-8908-feb500df1510" providerId="ADAL" clId="{3DD8B593-4C2C-4CB9-826D-B4E86314D082}" dt="2023-08-17T08:22:09.928" v="642" actId="478"/>
          <ac:spMkLst>
            <pc:docMk/>
            <pc:sldMk cId="699250117" sldId="2147376104"/>
            <ac:spMk id="24" creationId="{319571C5-A3EA-FDEC-C94D-EAE6E7273D19}"/>
          </ac:spMkLst>
        </pc:spChg>
        <pc:spChg chg="del">
          <ac:chgData name="Satish, Nitin" userId="f2ecb18b-41e0-4ce1-8908-feb500df1510" providerId="ADAL" clId="{3DD8B593-4C2C-4CB9-826D-B4E86314D082}" dt="2023-08-17T08:22:05.511" v="641" actId="478"/>
          <ac:spMkLst>
            <pc:docMk/>
            <pc:sldMk cId="699250117" sldId="2147376104"/>
            <ac:spMk id="25" creationId="{30C92575-2187-9B7B-9EB3-5C5A61E3EC63}"/>
          </ac:spMkLst>
        </pc:spChg>
        <pc:spChg chg="del">
          <ac:chgData name="Satish, Nitin" userId="f2ecb18b-41e0-4ce1-8908-feb500df1510" providerId="ADAL" clId="{3DD8B593-4C2C-4CB9-826D-B4E86314D082}" dt="2023-08-17T08:22:05.511" v="641" actId="478"/>
          <ac:spMkLst>
            <pc:docMk/>
            <pc:sldMk cId="699250117" sldId="2147376104"/>
            <ac:spMk id="26" creationId="{BB4DC7F5-98A8-B981-1680-1E70DFD407F3}"/>
          </ac:spMkLst>
        </pc:spChg>
        <pc:spChg chg="del">
          <ac:chgData name="Satish, Nitin" userId="f2ecb18b-41e0-4ce1-8908-feb500df1510" providerId="ADAL" clId="{3DD8B593-4C2C-4CB9-826D-B4E86314D082}" dt="2023-08-17T08:22:05.511" v="641" actId="478"/>
          <ac:spMkLst>
            <pc:docMk/>
            <pc:sldMk cId="699250117" sldId="2147376104"/>
            <ac:spMk id="28" creationId="{00369FF2-2127-1FDF-DF2B-8B151AC9DAE5}"/>
          </ac:spMkLst>
        </pc:spChg>
        <pc:spChg chg="del">
          <ac:chgData name="Satish, Nitin" userId="f2ecb18b-41e0-4ce1-8908-feb500df1510" providerId="ADAL" clId="{3DD8B593-4C2C-4CB9-826D-B4E86314D082}" dt="2023-08-17T08:22:05.511" v="641" actId="478"/>
          <ac:spMkLst>
            <pc:docMk/>
            <pc:sldMk cId="699250117" sldId="2147376104"/>
            <ac:spMk id="29" creationId="{E692A0BD-AB91-85FF-6407-5B0B8C943F69}"/>
          </ac:spMkLst>
        </pc:spChg>
        <pc:picChg chg="add mod">
          <ac:chgData name="Satish, Nitin" userId="f2ecb18b-41e0-4ce1-8908-feb500df1510" providerId="ADAL" clId="{3DD8B593-4C2C-4CB9-826D-B4E86314D082}" dt="2023-08-17T08:23:04.599" v="661" actId="1076"/>
          <ac:picMkLst>
            <pc:docMk/>
            <pc:sldMk cId="699250117" sldId="2147376104"/>
            <ac:picMk id="4" creationId="{399F06DD-4C6C-9E9A-F40B-E23B4F9E743C}"/>
          </ac:picMkLst>
        </pc:picChg>
        <pc:picChg chg="add mod">
          <ac:chgData name="Satish, Nitin" userId="f2ecb18b-41e0-4ce1-8908-feb500df1510" providerId="ADAL" clId="{3DD8B593-4C2C-4CB9-826D-B4E86314D082}" dt="2023-08-17T08:23:11.061" v="662" actId="14100"/>
          <ac:picMkLst>
            <pc:docMk/>
            <pc:sldMk cId="699250117" sldId="2147376104"/>
            <ac:picMk id="7" creationId="{643DC237-7B05-4FA1-DF80-99444F36F599}"/>
          </ac:picMkLst>
        </pc:picChg>
        <pc:picChg chg="add mod">
          <ac:chgData name="Satish, Nitin" userId="f2ecb18b-41e0-4ce1-8908-feb500df1510" providerId="ADAL" clId="{3DD8B593-4C2C-4CB9-826D-B4E86314D082}" dt="2023-08-17T08:23:14.520" v="663" actId="1076"/>
          <ac:picMkLst>
            <pc:docMk/>
            <pc:sldMk cId="699250117" sldId="2147376104"/>
            <ac:picMk id="9" creationId="{815851B8-8798-2015-33EF-DD6A36DB68DF}"/>
          </ac:picMkLst>
        </pc:picChg>
        <pc:picChg chg="del">
          <ac:chgData name="Satish, Nitin" userId="f2ecb18b-41e0-4ce1-8908-feb500df1510" providerId="ADAL" clId="{3DD8B593-4C2C-4CB9-826D-B4E86314D082}" dt="2023-08-17T08:22:05.511" v="641" actId="478"/>
          <ac:picMkLst>
            <pc:docMk/>
            <pc:sldMk cId="699250117" sldId="2147376104"/>
            <ac:picMk id="52" creationId="{96B81786-3CB3-5004-6A17-AE6018B38A9C}"/>
          </ac:picMkLst>
        </pc:picChg>
        <pc:picChg chg="del">
          <ac:chgData name="Satish, Nitin" userId="f2ecb18b-41e0-4ce1-8908-feb500df1510" providerId="ADAL" clId="{3DD8B593-4C2C-4CB9-826D-B4E86314D082}" dt="2023-08-17T08:22:16.051" v="646" actId="478"/>
          <ac:picMkLst>
            <pc:docMk/>
            <pc:sldMk cId="699250117" sldId="2147376104"/>
            <ac:picMk id="54" creationId="{A2C04FD1-5ABC-527D-A0F8-D9BC1AEDAD3C}"/>
          </ac:picMkLst>
        </pc:picChg>
        <pc:picChg chg="del mod">
          <ac:chgData name="Satish, Nitin" userId="f2ecb18b-41e0-4ce1-8908-feb500df1510" providerId="ADAL" clId="{3DD8B593-4C2C-4CB9-826D-B4E86314D082}" dt="2023-08-17T08:22:11.938" v="644" actId="478"/>
          <ac:picMkLst>
            <pc:docMk/>
            <pc:sldMk cId="699250117" sldId="2147376104"/>
            <ac:picMk id="58" creationId="{7571FDD4-1321-7666-EC5C-024777904BE0}"/>
          </ac:picMkLst>
        </pc:picChg>
        <pc:picChg chg="del">
          <ac:chgData name="Satish, Nitin" userId="f2ecb18b-41e0-4ce1-8908-feb500df1510" providerId="ADAL" clId="{3DD8B593-4C2C-4CB9-826D-B4E86314D082}" dt="2023-08-17T08:22:14.015" v="645" actId="478"/>
          <ac:picMkLst>
            <pc:docMk/>
            <pc:sldMk cId="699250117" sldId="2147376104"/>
            <ac:picMk id="60" creationId="{47426515-086D-BFF7-0609-A749DE34ECF6}"/>
          </ac:picMkLst>
        </pc:picChg>
        <pc:cxnChg chg="del mod">
          <ac:chgData name="Satish, Nitin" userId="f2ecb18b-41e0-4ce1-8908-feb500df1510" providerId="ADAL" clId="{3DD8B593-4C2C-4CB9-826D-B4E86314D082}" dt="2023-08-17T08:22:05.511" v="641" actId="478"/>
          <ac:cxnSpMkLst>
            <pc:docMk/>
            <pc:sldMk cId="699250117" sldId="2147376104"/>
            <ac:cxnSpMk id="3" creationId="{879A36DE-C0F4-C4D2-F0C9-B5FAD11E92EA}"/>
          </ac:cxnSpMkLst>
        </pc:cxnChg>
        <pc:cxnChg chg="del mod">
          <ac:chgData name="Satish, Nitin" userId="f2ecb18b-41e0-4ce1-8908-feb500df1510" providerId="ADAL" clId="{3DD8B593-4C2C-4CB9-826D-B4E86314D082}" dt="2023-08-17T08:22:05.511" v="641" actId="478"/>
          <ac:cxnSpMkLst>
            <pc:docMk/>
            <pc:sldMk cId="699250117" sldId="2147376104"/>
            <ac:cxnSpMk id="11" creationId="{4A910C6E-472A-A1B5-D546-339B32C36036}"/>
          </ac:cxnSpMkLst>
        </pc:cxnChg>
        <pc:cxnChg chg="del mod">
          <ac:chgData name="Satish, Nitin" userId="f2ecb18b-41e0-4ce1-8908-feb500df1510" providerId="ADAL" clId="{3DD8B593-4C2C-4CB9-826D-B4E86314D082}" dt="2023-08-17T08:22:05.511" v="641" actId="478"/>
          <ac:cxnSpMkLst>
            <pc:docMk/>
            <pc:sldMk cId="699250117" sldId="2147376104"/>
            <ac:cxnSpMk id="17" creationId="{08BAA42B-B5F0-C6D8-4697-F512F38778A6}"/>
          </ac:cxnSpMkLst>
        </pc:cxnChg>
      </pc:sldChg>
      <pc:sldChg chg="addSp delSp modSp add mod">
        <pc:chgData name="Satish, Nitin" userId="f2ecb18b-41e0-4ce1-8908-feb500df1510" providerId="ADAL" clId="{3DD8B593-4C2C-4CB9-826D-B4E86314D082}" dt="2023-08-17T11:09:27.172" v="1283" actId="1076"/>
        <pc:sldMkLst>
          <pc:docMk/>
          <pc:sldMk cId="1643633932" sldId="2147376105"/>
        </pc:sldMkLst>
        <pc:spChg chg="mod">
          <ac:chgData name="Satish, Nitin" userId="f2ecb18b-41e0-4ce1-8908-feb500df1510" providerId="ADAL" clId="{3DD8B593-4C2C-4CB9-826D-B4E86314D082}" dt="2023-08-17T08:28:34.643" v="716" actId="20577"/>
          <ac:spMkLst>
            <pc:docMk/>
            <pc:sldMk cId="1643633932" sldId="2147376105"/>
            <ac:spMk id="5" creationId="{3ACBC9A2-75A7-C8EF-68ED-531DF1C36A06}"/>
          </ac:spMkLst>
        </pc:spChg>
        <pc:spChg chg="add mod">
          <ac:chgData name="Satish, Nitin" userId="f2ecb18b-41e0-4ce1-8908-feb500df1510" providerId="ADAL" clId="{3DD8B593-4C2C-4CB9-826D-B4E86314D082}" dt="2023-08-17T08:28:12.309" v="705" actId="1076"/>
          <ac:spMkLst>
            <pc:docMk/>
            <pc:sldMk cId="1643633932" sldId="2147376105"/>
            <ac:spMk id="16" creationId="{35161E40-CC3C-A45A-725B-582A50DA2896}"/>
          </ac:spMkLst>
        </pc:spChg>
        <pc:spChg chg="add del mod">
          <ac:chgData name="Satish, Nitin" userId="f2ecb18b-41e0-4ce1-8908-feb500df1510" providerId="ADAL" clId="{3DD8B593-4C2C-4CB9-826D-B4E86314D082}" dt="2023-08-17T08:31:18.321" v="736" actId="478"/>
          <ac:spMkLst>
            <pc:docMk/>
            <pc:sldMk cId="1643633932" sldId="2147376105"/>
            <ac:spMk id="25" creationId="{E0955340-8F6C-398A-1B46-60A3D98EFAAA}"/>
          </ac:spMkLst>
        </pc:spChg>
        <pc:spChg chg="add del mod">
          <ac:chgData name="Satish, Nitin" userId="f2ecb18b-41e0-4ce1-8908-feb500df1510" providerId="ADAL" clId="{3DD8B593-4C2C-4CB9-826D-B4E86314D082}" dt="2023-08-17T08:31:20.656" v="737" actId="478"/>
          <ac:spMkLst>
            <pc:docMk/>
            <pc:sldMk cId="1643633932" sldId="2147376105"/>
            <ac:spMk id="26" creationId="{C0A81CD6-F063-3922-03FF-A839862B42ED}"/>
          </ac:spMkLst>
        </pc:spChg>
        <pc:spChg chg="add del mod">
          <ac:chgData name="Satish, Nitin" userId="f2ecb18b-41e0-4ce1-8908-feb500df1510" providerId="ADAL" clId="{3DD8B593-4C2C-4CB9-826D-B4E86314D082}" dt="2023-08-17T11:03:51.370" v="1246" actId="478"/>
          <ac:spMkLst>
            <pc:docMk/>
            <pc:sldMk cId="1643633932" sldId="2147376105"/>
            <ac:spMk id="27" creationId="{D17C63A6-A8AF-8B1A-B900-876FFBBFC9B2}"/>
          </ac:spMkLst>
        </pc:spChg>
        <pc:spChg chg="add mod">
          <ac:chgData name="Satish, Nitin" userId="f2ecb18b-41e0-4ce1-8908-feb500df1510" providerId="ADAL" clId="{3DD8B593-4C2C-4CB9-826D-B4E86314D082}" dt="2023-08-17T11:04:12.931" v="1252" actId="14100"/>
          <ac:spMkLst>
            <pc:docMk/>
            <pc:sldMk cId="1643633932" sldId="2147376105"/>
            <ac:spMk id="28" creationId="{81DF0851-8DFE-1274-D06D-57C34C40A463}"/>
          </ac:spMkLst>
        </pc:spChg>
        <pc:spChg chg="add del mod">
          <ac:chgData name="Satish, Nitin" userId="f2ecb18b-41e0-4ce1-8908-feb500df1510" providerId="ADAL" clId="{3DD8B593-4C2C-4CB9-826D-B4E86314D082}" dt="2023-08-17T11:03:03.920" v="1232" actId="478"/>
          <ac:spMkLst>
            <pc:docMk/>
            <pc:sldMk cId="1643633932" sldId="2147376105"/>
            <ac:spMk id="29" creationId="{846A6CBC-DDDB-DF65-76DA-79148B9AEBAA}"/>
          </ac:spMkLst>
        </pc:spChg>
        <pc:spChg chg="add mod">
          <ac:chgData name="Satish, Nitin" userId="f2ecb18b-41e0-4ce1-8908-feb500df1510" providerId="ADAL" clId="{3DD8B593-4C2C-4CB9-826D-B4E86314D082}" dt="2023-08-17T08:34:52.488" v="880" actId="20577"/>
          <ac:spMkLst>
            <pc:docMk/>
            <pc:sldMk cId="1643633932" sldId="2147376105"/>
            <ac:spMk id="30" creationId="{9DC2E73F-432C-36EF-1006-11E16079E6D7}"/>
          </ac:spMkLst>
        </pc:spChg>
        <pc:spChg chg="add mod">
          <ac:chgData name="Satish, Nitin" userId="f2ecb18b-41e0-4ce1-8908-feb500df1510" providerId="ADAL" clId="{3DD8B593-4C2C-4CB9-826D-B4E86314D082}" dt="2023-08-17T11:09:27.172" v="1283" actId="1076"/>
          <ac:spMkLst>
            <pc:docMk/>
            <pc:sldMk cId="1643633932" sldId="2147376105"/>
            <ac:spMk id="44" creationId="{A5010761-C9C7-DAA1-3FE1-BB26640CB09B}"/>
          </ac:spMkLst>
        </pc:spChg>
        <pc:spChg chg="add mod">
          <ac:chgData name="Satish, Nitin" userId="f2ecb18b-41e0-4ce1-8908-feb500df1510" providerId="ADAL" clId="{3DD8B593-4C2C-4CB9-826D-B4E86314D082}" dt="2023-08-17T11:04:41.620" v="1257" actId="1076"/>
          <ac:spMkLst>
            <pc:docMk/>
            <pc:sldMk cId="1643633932" sldId="2147376105"/>
            <ac:spMk id="45" creationId="{92E6A1FB-55F6-FCD3-74FF-AB02275A2A2F}"/>
          </ac:spMkLst>
        </pc:spChg>
        <pc:spChg chg="add del mod">
          <ac:chgData name="Satish, Nitin" userId="f2ecb18b-41e0-4ce1-8908-feb500df1510" providerId="ADAL" clId="{3DD8B593-4C2C-4CB9-826D-B4E86314D082}" dt="2023-08-17T11:03:23.874" v="1237"/>
          <ac:spMkLst>
            <pc:docMk/>
            <pc:sldMk cId="1643633932" sldId="2147376105"/>
            <ac:spMk id="47" creationId="{B26C71AD-7DD9-01A8-EAED-13D6987D392F}"/>
          </ac:spMkLst>
        </pc:spChg>
        <pc:spChg chg="add mod">
          <ac:chgData name="Satish, Nitin" userId="f2ecb18b-41e0-4ce1-8908-feb500df1510" providerId="ADAL" clId="{3DD8B593-4C2C-4CB9-826D-B4E86314D082}" dt="2023-08-17T11:04:06.780" v="1250" actId="14100"/>
          <ac:spMkLst>
            <pc:docMk/>
            <pc:sldMk cId="1643633932" sldId="2147376105"/>
            <ac:spMk id="48" creationId="{D13BFC08-3677-6C88-984E-BBE2BC4B857A}"/>
          </ac:spMkLst>
        </pc:spChg>
        <pc:picChg chg="add mod">
          <ac:chgData name="Satish, Nitin" userId="f2ecb18b-41e0-4ce1-8908-feb500df1510" providerId="ADAL" clId="{3DD8B593-4C2C-4CB9-826D-B4E86314D082}" dt="2023-08-17T11:03:54.730" v="1247" actId="1076"/>
          <ac:picMkLst>
            <pc:docMk/>
            <pc:sldMk cId="1643633932" sldId="2147376105"/>
            <ac:picMk id="3" creationId="{D8D39470-8E3A-91BA-1E00-439A11FBDC10}"/>
          </ac:picMkLst>
        </pc:picChg>
        <pc:picChg chg="del mod">
          <ac:chgData name="Satish, Nitin" userId="f2ecb18b-41e0-4ce1-8908-feb500df1510" providerId="ADAL" clId="{3DD8B593-4C2C-4CB9-826D-B4E86314D082}" dt="2023-08-17T08:23:33.249" v="669" actId="478"/>
          <ac:picMkLst>
            <pc:docMk/>
            <pc:sldMk cId="1643633932" sldId="2147376105"/>
            <ac:picMk id="4" creationId="{399F06DD-4C6C-9E9A-F40B-E23B4F9E743C}"/>
          </ac:picMkLst>
        </pc:picChg>
        <pc:picChg chg="del mod">
          <ac:chgData name="Satish, Nitin" userId="f2ecb18b-41e0-4ce1-8908-feb500df1510" providerId="ADAL" clId="{3DD8B593-4C2C-4CB9-826D-B4E86314D082}" dt="2023-08-17T08:23:30.302" v="667" actId="478"/>
          <ac:picMkLst>
            <pc:docMk/>
            <pc:sldMk cId="1643633932" sldId="2147376105"/>
            <ac:picMk id="7" creationId="{643DC237-7B05-4FA1-DF80-99444F36F599}"/>
          </ac:picMkLst>
        </pc:picChg>
        <pc:picChg chg="add mod">
          <ac:chgData name="Satish, Nitin" userId="f2ecb18b-41e0-4ce1-8908-feb500df1510" providerId="ADAL" clId="{3DD8B593-4C2C-4CB9-826D-B4E86314D082}" dt="2023-08-17T11:03:59.633" v="1248" actId="1076"/>
          <ac:picMkLst>
            <pc:docMk/>
            <pc:sldMk cId="1643633932" sldId="2147376105"/>
            <ac:picMk id="8" creationId="{6886570A-BAEB-FC0F-40AE-ED71E044E5D5}"/>
          </ac:picMkLst>
        </pc:picChg>
        <pc:picChg chg="del">
          <ac:chgData name="Satish, Nitin" userId="f2ecb18b-41e0-4ce1-8908-feb500df1510" providerId="ADAL" clId="{3DD8B593-4C2C-4CB9-826D-B4E86314D082}" dt="2023-08-17T08:23:28.318" v="665" actId="478"/>
          <ac:picMkLst>
            <pc:docMk/>
            <pc:sldMk cId="1643633932" sldId="2147376105"/>
            <ac:picMk id="9" creationId="{815851B8-8798-2015-33EF-DD6A36DB68DF}"/>
          </ac:picMkLst>
        </pc:picChg>
        <pc:picChg chg="add mod">
          <ac:chgData name="Satish, Nitin" userId="f2ecb18b-41e0-4ce1-8908-feb500df1510" providerId="ADAL" clId="{3DD8B593-4C2C-4CB9-826D-B4E86314D082}" dt="2023-08-17T11:05:37.100" v="1259" actId="1076"/>
          <ac:picMkLst>
            <pc:docMk/>
            <pc:sldMk cId="1643633932" sldId="2147376105"/>
            <ac:picMk id="11" creationId="{3BD1B0A0-3117-8C2A-6E82-C260C37DBEDF}"/>
          </ac:picMkLst>
        </pc:picChg>
        <pc:picChg chg="add mod">
          <ac:chgData name="Satish, Nitin" userId="f2ecb18b-41e0-4ce1-8908-feb500df1510" providerId="ADAL" clId="{3DD8B593-4C2C-4CB9-826D-B4E86314D082}" dt="2023-08-17T11:04:31.938" v="1255" actId="1076"/>
          <ac:picMkLst>
            <pc:docMk/>
            <pc:sldMk cId="1643633932" sldId="2147376105"/>
            <ac:picMk id="13" creationId="{360FA241-823D-488B-DE9E-DB03A29F4680}"/>
          </ac:picMkLst>
        </pc:picChg>
        <pc:picChg chg="add mod">
          <ac:chgData name="Satish, Nitin" userId="f2ecb18b-41e0-4ce1-8908-feb500df1510" providerId="ADAL" clId="{3DD8B593-4C2C-4CB9-826D-B4E86314D082}" dt="2023-08-17T08:27:35.215" v="701" actId="1076"/>
          <ac:picMkLst>
            <pc:docMk/>
            <pc:sldMk cId="1643633932" sldId="2147376105"/>
            <ac:picMk id="15" creationId="{1B6AE0EA-80B2-F9B2-6ADF-899A00763D57}"/>
          </ac:picMkLst>
        </pc:picChg>
        <pc:picChg chg="add mod">
          <ac:chgData name="Satish, Nitin" userId="f2ecb18b-41e0-4ce1-8908-feb500df1510" providerId="ADAL" clId="{3DD8B593-4C2C-4CB9-826D-B4E86314D082}" dt="2023-08-17T11:03:25.096" v="1238" actId="571"/>
          <ac:picMkLst>
            <pc:docMk/>
            <pc:sldMk cId="1643633932" sldId="2147376105"/>
            <ac:picMk id="46" creationId="{DD15223D-CA41-9FED-B87C-25A354C41E08}"/>
          </ac:picMkLst>
        </pc:picChg>
        <pc:cxnChg chg="add del mod">
          <ac:chgData name="Satish, Nitin" userId="f2ecb18b-41e0-4ce1-8908-feb500df1510" providerId="ADAL" clId="{3DD8B593-4C2C-4CB9-826D-B4E86314D082}" dt="2023-08-17T10:59:23.345" v="1197" actId="478"/>
          <ac:cxnSpMkLst>
            <pc:docMk/>
            <pc:sldMk cId="1643633932" sldId="2147376105"/>
            <ac:cxnSpMk id="18" creationId="{1D19EF05-7CF5-D39A-F932-947D0E99CD4F}"/>
          </ac:cxnSpMkLst>
        </pc:cxnChg>
        <pc:cxnChg chg="add del mod">
          <ac:chgData name="Satish, Nitin" userId="f2ecb18b-41e0-4ce1-8908-feb500df1510" providerId="ADAL" clId="{3DD8B593-4C2C-4CB9-826D-B4E86314D082}" dt="2023-08-17T10:59:27.791" v="1198" actId="478"/>
          <ac:cxnSpMkLst>
            <pc:docMk/>
            <pc:sldMk cId="1643633932" sldId="2147376105"/>
            <ac:cxnSpMk id="20" creationId="{B6A140F7-EABF-1D47-6E72-D78269406121}"/>
          </ac:cxnSpMkLst>
        </pc:cxnChg>
        <pc:cxnChg chg="add mod">
          <ac:chgData name="Satish, Nitin" userId="f2ecb18b-41e0-4ce1-8908-feb500df1510" providerId="ADAL" clId="{3DD8B593-4C2C-4CB9-826D-B4E86314D082}" dt="2023-08-17T11:03:59.633" v="1248" actId="1076"/>
          <ac:cxnSpMkLst>
            <pc:docMk/>
            <pc:sldMk cId="1643633932" sldId="2147376105"/>
            <ac:cxnSpMk id="22" creationId="{902DE6DB-AAE7-B805-B35A-8A26E9E9CAA4}"/>
          </ac:cxnSpMkLst>
        </pc:cxnChg>
        <pc:cxnChg chg="add mod">
          <ac:chgData name="Satish, Nitin" userId="f2ecb18b-41e0-4ce1-8908-feb500df1510" providerId="ADAL" clId="{3DD8B593-4C2C-4CB9-826D-B4E86314D082}" dt="2023-08-17T11:01:25.935" v="1219" actId="14100"/>
          <ac:cxnSpMkLst>
            <pc:docMk/>
            <pc:sldMk cId="1643633932" sldId="2147376105"/>
            <ac:cxnSpMk id="24" creationId="{6C7226FF-A551-3F0C-FC48-6E975BD1E674}"/>
          </ac:cxnSpMkLst>
        </pc:cxnChg>
        <pc:cxnChg chg="add mod">
          <ac:chgData name="Satish, Nitin" userId="f2ecb18b-41e0-4ce1-8908-feb500df1510" providerId="ADAL" clId="{3DD8B593-4C2C-4CB9-826D-B4E86314D082}" dt="2023-08-17T11:04:27.285" v="1254" actId="14100"/>
          <ac:cxnSpMkLst>
            <pc:docMk/>
            <pc:sldMk cId="1643633932" sldId="2147376105"/>
            <ac:cxnSpMk id="32" creationId="{5655604A-CE12-97E5-D811-D0CF73D10612}"/>
          </ac:cxnSpMkLst>
        </pc:cxnChg>
        <pc:cxnChg chg="add del mod">
          <ac:chgData name="Satish, Nitin" userId="f2ecb18b-41e0-4ce1-8908-feb500df1510" providerId="ADAL" clId="{3DD8B593-4C2C-4CB9-826D-B4E86314D082}" dt="2023-08-17T11:00:42.116" v="1210" actId="478"/>
          <ac:cxnSpMkLst>
            <pc:docMk/>
            <pc:sldMk cId="1643633932" sldId="2147376105"/>
            <ac:cxnSpMk id="37" creationId="{DEB3506C-155B-0C90-4B4D-D76F03602102}"/>
          </ac:cxnSpMkLst>
        </pc:cxnChg>
        <pc:cxnChg chg="add del mod">
          <ac:chgData name="Satish, Nitin" userId="f2ecb18b-41e0-4ce1-8908-feb500df1510" providerId="ADAL" clId="{3DD8B593-4C2C-4CB9-826D-B4E86314D082}" dt="2023-08-17T11:01:50.778" v="1224" actId="478"/>
          <ac:cxnSpMkLst>
            <pc:docMk/>
            <pc:sldMk cId="1643633932" sldId="2147376105"/>
            <ac:cxnSpMk id="43" creationId="{B2B25541-E14B-800E-7481-9BF0E659D8F3}"/>
          </ac:cxnSpMkLst>
        </pc:cxnChg>
      </pc:sldChg>
      <pc:sldChg chg="addSp delSp modSp add mod ord">
        <pc:chgData name="Satish, Nitin" userId="f2ecb18b-41e0-4ce1-8908-feb500df1510" providerId="ADAL" clId="{3DD8B593-4C2C-4CB9-826D-B4E86314D082}" dt="2023-08-17T11:12:47.224" v="1301" actId="478"/>
        <pc:sldMkLst>
          <pc:docMk/>
          <pc:sldMk cId="1510663220" sldId="2147376106"/>
        </pc:sldMkLst>
        <pc:spChg chg="del">
          <ac:chgData name="Satish, Nitin" userId="f2ecb18b-41e0-4ce1-8908-feb500df1510" providerId="ADAL" clId="{3DD8B593-4C2C-4CB9-826D-B4E86314D082}" dt="2023-08-17T08:39:27.707" v="959" actId="478"/>
          <ac:spMkLst>
            <pc:docMk/>
            <pc:sldMk cId="1510663220" sldId="2147376106"/>
            <ac:spMk id="5" creationId="{3ACBC9A2-75A7-C8EF-68ED-531DF1C36A06}"/>
          </ac:spMkLst>
        </pc:spChg>
        <pc:spChg chg="del">
          <ac:chgData name="Satish, Nitin" userId="f2ecb18b-41e0-4ce1-8908-feb500df1510" providerId="ADAL" clId="{3DD8B593-4C2C-4CB9-826D-B4E86314D082}" dt="2023-08-17T08:39:40.256" v="961" actId="478"/>
          <ac:spMkLst>
            <pc:docMk/>
            <pc:sldMk cId="1510663220" sldId="2147376106"/>
            <ac:spMk id="24" creationId="{319571C5-A3EA-FDEC-C94D-EAE6E7273D19}"/>
          </ac:spMkLst>
        </pc:spChg>
        <pc:spChg chg="del">
          <ac:chgData name="Satish, Nitin" userId="f2ecb18b-41e0-4ce1-8908-feb500df1510" providerId="ADAL" clId="{3DD8B593-4C2C-4CB9-826D-B4E86314D082}" dt="2023-08-17T08:39:40.256" v="961" actId="478"/>
          <ac:spMkLst>
            <pc:docMk/>
            <pc:sldMk cId="1510663220" sldId="2147376106"/>
            <ac:spMk id="25" creationId="{30C92575-2187-9B7B-9EB3-5C5A61E3EC63}"/>
          </ac:spMkLst>
        </pc:spChg>
        <pc:spChg chg="del">
          <ac:chgData name="Satish, Nitin" userId="f2ecb18b-41e0-4ce1-8908-feb500df1510" providerId="ADAL" clId="{3DD8B593-4C2C-4CB9-826D-B4E86314D082}" dt="2023-08-17T08:39:40.256" v="961" actId="478"/>
          <ac:spMkLst>
            <pc:docMk/>
            <pc:sldMk cId="1510663220" sldId="2147376106"/>
            <ac:spMk id="26" creationId="{BB4DC7F5-98A8-B981-1680-1E70DFD407F3}"/>
          </ac:spMkLst>
        </pc:spChg>
        <pc:spChg chg="add del mod topLvl">
          <ac:chgData name="Satish, Nitin" userId="f2ecb18b-41e0-4ce1-8908-feb500df1510" providerId="ADAL" clId="{3DD8B593-4C2C-4CB9-826D-B4E86314D082}" dt="2023-08-17T08:58:18.240" v="1106" actId="1076"/>
          <ac:spMkLst>
            <pc:docMk/>
            <pc:sldMk cId="1510663220" sldId="2147376106"/>
            <ac:spMk id="27" creationId="{62664B7C-2E30-D4A8-5415-D99D6A8CCC01}"/>
          </ac:spMkLst>
        </pc:spChg>
        <pc:spChg chg="del">
          <ac:chgData name="Satish, Nitin" userId="f2ecb18b-41e0-4ce1-8908-feb500df1510" providerId="ADAL" clId="{3DD8B593-4C2C-4CB9-826D-B4E86314D082}" dt="2023-08-17T08:39:40.256" v="961" actId="478"/>
          <ac:spMkLst>
            <pc:docMk/>
            <pc:sldMk cId="1510663220" sldId="2147376106"/>
            <ac:spMk id="28" creationId="{00369FF2-2127-1FDF-DF2B-8B151AC9DAE5}"/>
          </ac:spMkLst>
        </pc:spChg>
        <pc:spChg chg="del">
          <ac:chgData name="Satish, Nitin" userId="f2ecb18b-41e0-4ce1-8908-feb500df1510" providerId="ADAL" clId="{3DD8B593-4C2C-4CB9-826D-B4E86314D082}" dt="2023-08-17T08:39:47.546" v="964" actId="478"/>
          <ac:spMkLst>
            <pc:docMk/>
            <pc:sldMk cId="1510663220" sldId="2147376106"/>
            <ac:spMk id="29" creationId="{E692A0BD-AB91-85FF-6407-5B0B8C943F69}"/>
          </ac:spMkLst>
        </pc:spChg>
        <pc:spChg chg="add del mod">
          <ac:chgData name="Satish, Nitin" userId="f2ecb18b-41e0-4ce1-8908-feb500df1510" providerId="ADAL" clId="{3DD8B593-4C2C-4CB9-826D-B4E86314D082}" dt="2023-08-17T08:49:43.448" v="1056" actId="164"/>
          <ac:spMkLst>
            <pc:docMk/>
            <pc:sldMk cId="1510663220" sldId="2147376106"/>
            <ac:spMk id="30" creationId="{4AA373C9-D898-A866-8FB6-51AB3D7BA87A}"/>
          </ac:spMkLst>
        </pc:spChg>
        <pc:spChg chg="mod">
          <ac:chgData name="Satish, Nitin" userId="f2ecb18b-41e0-4ce1-8908-feb500df1510" providerId="ADAL" clId="{3DD8B593-4C2C-4CB9-826D-B4E86314D082}" dt="2023-08-17T08:58:32.768" v="1108" actId="1076"/>
          <ac:spMkLst>
            <pc:docMk/>
            <pc:sldMk cId="1510663220" sldId="2147376106"/>
            <ac:spMk id="31" creationId="{9E9C482D-B1CA-250D-0B54-DF1FEC50B981}"/>
          </ac:spMkLst>
        </pc:spChg>
        <pc:spChg chg="add del mod">
          <ac:chgData name="Satish, Nitin" userId="f2ecb18b-41e0-4ce1-8908-feb500df1510" providerId="ADAL" clId="{3DD8B593-4C2C-4CB9-826D-B4E86314D082}" dt="2023-08-17T08:58:18.240" v="1106" actId="1076"/>
          <ac:spMkLst>
            <pc:docMk/>
            <pc:sldMk cId="1510663220" sldId="2147376106"/>
            <ac:spMk id="32" creationId="{F2C679EA-6F3F-10AF-B322-DD51A400C618}"/>
          </ac:spMkLst>
        </pc:spChg>
        <pc:spChg chg="add mod topLvl">
          <ac:chgData name="Satish, Nitin" userId="f2ecb18b-41e0-4ce1-8908-feb500df1510" providerId="ADAL" clId="{3DD8B593-4C2C-4CB9-826D-B4E86314D082}" dt="2023-08-17T08:58:18.240" v="1106" actId="1076"/>
          <ac:spMkLst>
            <pc:docMk/>
            <pc:sldMk cId="1510663220" sldId="2147376106"/>
            <ac:spMk id="33" creationId="{FF3BA1EB-E4BB-64C8-8B0C-D2B1772964EA}"/>
          </ac:spMkLst>
        </pc:spChg>
        <pc:spChg chg="add mod">
          <ac:chgData name="Satish, Nitin" userId="f2ecb18b-41e0-4ce1-8908-feb500df1510" providerId="ADAL" clId="{3DD8B593-4C2C-4CB9-826D-B4E86314D082}" dt="2023-08-17T08:49:43.448" v="1056" actId="164"/>
          <ac:spMkLst>
            <pc:docMk/>
            <pc:sldMk cId="1510663220" sldId="2147376106"/>
            <ac:spMk id="34" creationId="{7DA50C5E-32E5-9261-7213-1C8521B52D8C}"/>
          </ac:spMkLst>
        </pc:spChg>
        <pc:spChg chg="add mod">
          <ac:chgData name="Satish, Nitin" userId="f2ecb18b-41e0-4ce1-8908-feb500df1510" providerId="ADAL" clId="{3DD8B593-4C2C-4CB9-826D-B4E86314D082}" dt="2023-08-17T08:58:18.240" v="1106" actId="1076"/>
          <ac:spMkLst>
            <pc:docMk/>
            <pc:sldMk cId="1510663220" sldId="2147376106"/>
            <ac:spMk id="35" creationId="{EBE4F065-7F78-A8C2-9BA6-C0D21A8F7CAD}"/>
          </ac:spMkLst>
        </pc:spChg>
        <pc:spChg chg="add mod">
          <ac:chgData name="Satish, Nitin" userId="f2ecb18b-41e0-4ce1-8908-feb500df1510" providerId="ADAL" clId="{3DD8B593-4C2C-4CB9-826D-B4E86314D082}" dt="2023-08-17T08:58:18.240" v="1106" actId="1076"/>
          <ac:spMkLst>
            <pc:docMk/>
            <pc:sldMk cId="1510663220" sldId="2147376106"/>
            <ac:spMk id="36" creationId="{382975F0-E670-9EAA-AD92-C3E99592E151}"/>
          </ac:spMkLst>
        </pc:spChg>
        <pc:spChg chg="add mod topLvl">
          <ac:chgData name="Satish, Nitin" userId="f2ecb18b-41e0-4ce1-8908-feb500df1510" providerId="ADAL" clId="{3DD8B593-4C2C-4CB9-826D-B4E86314D082}" dt="2023-08-17T08:58:18.240" v="1106" actId="1076"/>
          <ac:spMkLst>
            <pc:docMk/>
            <pc:sldMk cId="1510663220" sldId="2147376106"/>
            <ac:spMk id="37" creationId="{3E268220-EB0A-AB3A-5490-F13AF75160FE}"/>
          </ac:spMkLst>
        </pc:spChg>
        <pc:spChg chg="add mod">
          <ac:chgData name="Satish, Nitin" userId="f2ecb18b-41e0-4ce1-8908-feb500df1510" providerId="ADAL" clId="{3DD8B593-4C2C-4CB9-826D-B4E86314D082}" dt="2023-08-17T08:49:43.448" v="1056" actId="164"/>
          <ac:spMkLst>
            <pc:docMk/>
            <pc:sldMk cId="1510663220" sldId="2147376106"/>
            <ac:spMk id="38" creationId="{3744D992-D98B-404D-BA21-B8448E1DA8E0}"/>
          </ac:spMkLst>
        </pc:spChg>
        <pc:spChg chg="add mod">
          <ac:chgData name="Satish, Nitin" userId="f2ecb18b-41e0-4ce1-8908-feb500df1510" providerId="ADAL" clId="{3DD8B593-4C2C-4CB9-826D-B4E86314D082}" dt="2023-08-17T08:58:36.955" v="1109" actId="1076"/>
          <ac:spMkLst>
            <pc:docMk/>
            <pc:sldMk cId="1510663220" sldId="2147376106"/>
            <ac:spMk id="43" creationId="{05D8F3C2-1F91-2738-FD46-381A4D0E692B}"/>
          </ac:spMkLst>
        </pc:spChg>
        <pc:grpChg chg="add del mod">
          <ac:chgData name="Satish, Nitin" userId="f2ecb18b-41e0-4ce1-8908-feb500df1510" providerId="ADAL" clId="{3DD8B593-4C2C-4CB9-826D-B4E86314D082}" dt="2023-08-17T08:53:39.113" v="1069" actId="165"/>
          <ac:grpSpMkLst>
            <pc:docMk/>
            <pc:sldMk cId="1510663220" sldId="2147376106"/>
            <ac:grpSpMk id="39" creationId="{E812E85C-B078-8541-7FA8-727666EFEA87}"/>
          </ac:grpSpMkLst>
        </pc:grpChg>
        <pc:grpChg chg="add mod">
          <ac:chgData name="Satish, Nitin" userId="f2ecb18b-41e0-4ce1-8908-feb500df1510" providerId="ADAL" clId="{3DD8B593-4C2C-4CB9-826D-B4E86314D082}" dt="2023-08-17T08:58:18.240" v="1106" actId="1076"/>
          <ac:grpSpMkLst>
            <pc:docMk/>
            <pc:sldMk cId="1510663220" sldId="2147376106"/>
            <ac:grpSpMk id="40" creationId="{A8058195-EEBA-0A77-D32B-C57FDDB572F9}"/>
          </ac:grpSpMkLst>
        </pc:grpChg>
        <pc:picChg chg="add del mod">
          <ac:chgData name="Satish, Nitin" userId="f2ecb18b-41e0-4ce1-8908-feb500df1510" providerId="ADAL" clId="{3DD8B593-4C2C-4CB9-826D-B4E86314D082}" dt="2023-08-17T08:39:40.256" v="961" actId="478"/>
          <ac:picMkLst>
            <pc:docMk/>
            <pc:sldMk cId="1510663220" sldId="2147376106"/>
            <ac:picMk id="12" creationId="{EFFBFAEF-9A68-BAC3-9C8A-B80884209BAD}"/>
          </ac:picMkLst>
        </pc:picChg>
        <pc:picChg chg="add del mod">
          <ac:chgData name="Satish, Nitin" userId="f2ecb18b-41e0-4ce1-8908-feb500df1510" providerId="ADAL" clId="{3DD8B593-4C2C-4CB9-826D-B4E86314D082}" dt="2023-08-17T08:39:40.256" v="961" actId="478"/>
          <ac:picMkLst>
            <pc:docMk/>
            <pc:sldMk cId="1510663220" sldId="2147376106"/>
            <ac:picMk id="13" creationId="{456A7CAE-351A-EF06-2A12-DC48E70C8F7E}"/>
          </ac:picMkLst>
        </pc:picChg>
        <pc:picChg chg="add del mod">
          <ac:chgData name="Satish, Nitin" userId="f2ecb18b-41e0-4ce1-8908-feb500df1510" providerId="ADAL" clId="{3DD8B593-4C2C-4CB9-826D-B4E86314D082}" dt="2023-08-17T08:39:40.256" v="961" actId="478"/>
          <ac:picMkLst>
            <pc:docMk/>
            <pc:sldMk cId="1510663220" sldId="2147376106"/>
            <ac:picMk id="14" creationId="{074021C4-7EC3-62FF-8745-5F929C160843}"/>
          </ac:picMkLst>
        </pc:picChg>
        <pc:picChg chg="add del mod">
          <ac:chgData name="Satish, Nitin" userId="f2ecb18b-41e0-4ce1-8908-feb500df1510" providerId="ADAL" clId="{3DD8B593-4C2C-4CB9-826D-B4E86314D082}" dt="2023-08-17T08:39:51.142" v="966" actId="478"/>
          <ac:picMkLst>
            <pc:docMk/>
            <pc:sldMk cId="1510663220" sldId="2147376106"/>
            <ac:picMk id="19" creationId="{343F1073-8B3E-E5B8-915D-C2641C162D4E}"/>
          </ac:picMkLst>
        </pc:picChg>
        <pc:picChg chg="add del mod">
          <ac:chgData name="Satish, Nitin" userId="f2ecb18b-41e0-4ce1-8908-feb500df1510" providerId="ADAL" clId="{3DD8B593-4C2C-4CB9-826D-B4E86314D082}" dt="2023-08-17T08:39:49.446" v="965" actId="478"/>
          <ac:picMkLst>
            <pc:docMk/>
            <pc:sldMk cId="1510663220" sldId="2147376106"/>
            <ac:picMk id="20" creationId="{0E3C9226-37E9-B1C7-925D-816E9899CB41}"/>
          </ac:picMkLst>
        </pc:picChg>
        <pc:picChg chg="add del mod">
          <ac:chgData name="Satish, Nitin" userId="f2ecb18b-41e0-4ce1-8908-feb500df1510" providerId="ADAL" clId="{3DD8B593-4C2C-4CB9-826D-B4E86314D082}" dt="2023-08-17T08:39:47.546" v="964" actId="478"/>
          <ac:picMkLst>
            <pc:docMk/>
            <pc:sldMk cId="1510663220" sldId="2147376106"/>
            <ac:picMk id="21" creationId="{87167AB8-2B7B-B223-FAA9-A52610491241}"/>
          </ac:picMkLst>
        </pc:picChg>
        <pc:picChg chg="add del mod">
          <ac:chgData name="Satish, Nitin" userId="f2ecb18b-41e0-4ce1-8908-feb500df1510" providerId="ADAL" clId="{3DD8B593-4C2C-4CB9-826D-B4E86314D082}" dt="2023-08-17T08:39:47.546" v="964" actId="478"/>
          <ac:picMkLst>
            <pc:docMk/>
            <pc:sldMk cId="1510663220" sldId="2147376106"/>
            <ac:picMk id="22" creationId="{1731BFCA-824F-ED1A-CF8F-2907F7057954}"/>
          </ac:picMkLst>
        </pc:picChg>
        <pc:picChg chg="add del mod">
          <ac:chgData name="Satish, Nitin" userId="f2ecb18b-41e0-4ce1-8908-feb500df1510" providerId="ADAL" clId="{3DD8B593-4C2C-4CB9-826D-B4E86314D082}" dt="2023-08-17T08:39:47.546" v="964" actId="478"/>
          <ac:picMkLst>
            <pc:docMk/>
            <pc:sldMk cId="1510663220" sldId="2147376106"/>
            <ac:picMk id="23" creationId="{2D7DA55E-3287-87A3-84B8-DA01E6053697}"/>
          </ac:picMkLst>
        </pc:picChg>
        <pc:picChg chg="add mod">
          <ac:chgData name="Satish, Nitin" userId="f2ecb18b-41e0-4ce1-8908-feb500df1510" providerId="ADAL" clId="{3DD8B593-4C2C-4CB9-826D-B4E86314D082}" dt="2023-08-17T08:58:23.715" v="1107" actId="1076"/>
          <ac:picMkLst>
            <pc:docMk/>
            <pc:sldMk cId="1510663220" sldId="2147376106"/>
            <ac:picMk id="42" creationId="{BAB42309-C48F-A6D4-52A2-0872C3720D72}"/>
          </ac:picMkLst>
        </pc:picChg>
        <pc:picChg chg="add del">
          <ac:chgData name="Satish, Nitin" userId="f2ecb18b-41e0-4ce1-8908-feb500df1510" providerId="ADAL" clId="{3DD8B593-4C2C-4CB9-826D-B4E86314D082}" dt="2023-08-17T11:07:15.655" v="1275" actId="478"/>
          <ac:picMkLst>
            <pc:docMk/>
            <pc:sldMk cId="1510663220" sldId="2147376106"/>
            <ac:picMk id="44" creationId="{A07277AD-6902-2DA2-36F1-95EFDC96FCED}"/>
          </ac:picMkLst>
        </pc:picChg>
        <pc:picChg chg="del">
          <ac:chgData name="Satish, Nitin" userId="f2ecb18b-41e0-4ce1-8908-feb500df1510" providerId="ADAL" clId="{3DD8B593-4C2C-4CB9-826D-B4E86314D082}" dt="2023-08-17T11:12:47.224" v="1301" actId="478"/>
          <ac:picMkLst>
            <pc:docMk/>
            <pc:sldMk cId="1510663220" sldId="2147376106"/>
            <ac:picMk id="45" creationId="{53AA1FEC-2D7D-49E4-169A-18E6514B691F}"/>
          </ac:picMkLst>
        </pc:picChg>
        <pc:picChg chg="del">
          <ac:chgData name="Satish, Nitin" userId="f2ecb18b-41e0-4ce1-8908-feb500df1510" providerId="ADAL" clId="{3DD8B593-4C2C-4CB9-826D-B4E86314D082}" dt="2023-08-17T08:39:54.426" v="969" actId="478"/>
          <ac:picMkLst>
            <pc:docMk/>
            <pc:sldMk cId="1510663220" sldId="2147376106"/>
            <ac:picMk id="52" creationId="{96B81786-3CB3-5004-6A17-AE6018B38A9C}"/>
          </ac:picMkLst>
        </pc:picChg>
        <pc:picChg chg="del">
          <ac:chgData name="Satish, Nitin" userId="f2ecb18b-41e0-4ce1-8908-feb500df1510" providerId="ADAL" clId="{3DD8B593-4C2C-4CB9-826D-B4E86314D082}" dt="2023-08-17T08:39:55.539" v="970" actId="478"/>
          <ac:picMkLst>
            <pc:docMk/>
            <pc:sldMk cId="1510663220" sldId="2147376106"/>
            <ac:picMk id="54" creationId="{A2C04FD1-5ABC-527D-A0F8-D9BC1AEDAD3C}"/>
          </ac:picMkLst>
        </pc:picChg>
        <pc:picChg chg="del mod">
          <ac:chgData name="Satish, Nitin" userId="f2ecb18b-41e0-4ce1-8908-feb500df1510" providerId="ADAL" clId="{3DD8B593-4C2C-4CB9-826D-B4E86314D082}" dt="2023-08-17T08:39:53.013" v="968" actId="478"/>
          <ac:picMkLst>
            <pc:docMk/>
            <pc:sldMk cId="1510663220" sldId="2147376106"/>
            <ac:picMk id="58" creationId="{7571FDD4-1321-7666-EC5C-024777904BE0}"/>
          </ac:picMkLst>
        </pc:picChg>
        <pc:picChg chg="del">
          <ac:chgData name="Satish, Nitin" userId="f2ecb18b-41e0-4ce1-8908-feb500df1510" providerId="ADAL" clId="{3DD8B593-4C2C-4CB9-826D-B4E86314D082}" dt="2023-08-17T08:39:40.256" v="961" actId="478"/>
          <ac:picMkLst>
            <pc:docMk/>
            <pc:sldMk cId="1510663220" sldId="2147376106"/>
            <ac:picMk id="60" creationId="{47426515-086D-BFF7-0609-A749DE34ECF6}"/>
          </ac:picMkLst>
        </pc:picChg>
        <pc:cxnChg chg="del mod">
          <ac:chgData name="Satish, Nitin" userId="f2ecb18b-41e0-4ce1-8908-feb500df1510" providerId="ADAL" clId="{3DD8B593-4C2C-4CB9-826D-B4E86314D082}" dt="2023-08-17T08:39:47.546" v="964" actId="478"/>
          <ac:cxnSpMkLst>
            <pc:docMk/>
            <pc:sldMk cId="1510663220" sldId="2147376106"/>
            <ac:cxnSpMk id="3" creationId="{879A36DE-C0F4-C4D2-F0C9-B5FAD11E92EA}"/>
          </ac:cxnSpMkLst>
        </pc:cxnChg>
        <pc:cxnChg chg="del mod">
          <ac:chgData name="Satish, Nitin" userId="f2ecb18b-41e0-4ce1-8908-feb500df1510" providerId="ADAL" clId="{3DD8B593-4C2C-4CB9-826D-B4E86314D082}" dt="2023-08-17T08:39:40.256" v="961" actId="478"/>
          <ac:cxnSpMkLst>
            <pc:docMk/>
            <pc:sldMk cId="1510663220" sldId="2147376106"/>
            <ac:cxnSpMk id="11" creationId="{4A910C6E-472A-A1B5-D546-339B32C36036}"/>
          </ac:cxnSpMkLst>
        </pc:cxnChg>
        <pc:cxnChg chg="del mod">
          <ac:chgData name="Satish, Nitin" userId="f2ecb18b-41e0-4ce1-8908-feb500df1510" providerId="ADAL" clId="{3DD8B593-4C2C-4CB9-826D-B4E86314D082}" dt="2023-08-17T08:39:40.256" v="961" actId="478"/>
          <ac:cxnSpMkLst>
            <pc:docMk/>
            <pc:sldMk cId="1510663220" sldId="2147376106"/>
            <ac:cxnSpMk id="17" creationId="{08BAA42B-B5F0-C6D8-4697-F512F38778A6}"/>
          </ac:cxnSpMkLst>
        </pc:cxnChg>
      </pc:sldChg>
      <pc:sldChg chg="addSp delSp modSp add mod ord">
        <pc:chgData name="Satish, Nitin" userId="f2ecb18b-41e0-4ce1-8908-feb500df1510" providerId="ADAL" clId="{3DD8B593-4C2C-4CB9-826D-B4E86314D082}" dt="2023-08-17T11:13:26.788" v="1303"/>
        <pc:sldMkLst>
          <pc:docMk/>
          <pc:sldMk cId="4094892608" sldId="2147376107"/>
        </pc:sldMkLst>
        <pc:spChg chg="del">
          <ac:chgData name="Satish, Nitin" userId="f2ecb18b-41e0-4ce1-8908-feb500df1510" providerId="ADAL" clId="{3DD8B593-4C2C-4CB9-826D-B4E86314D082}" dt="2023-08-17T09:51:24.438" v="1113" actId="478"/>
          <ac:spMkLst>
            <pc:docMk/>
            <pc:sldMk cId="4094892608" sldId="2147376107"/>
            <ac:spMk id="5" creationId="{3ACBC9A2-75A7-C8EF-68ED-531DF1C36A06}"/>
          </ac:spMkLst>
        </pc:spChg>
        <pc:spChg chg="add mod">
          <ac:chgData name="Satish, Nitin" userId="f2ecb18b-41e0-4ce1-8908-feb500df1510" providerId="ADAL" clId="{3DD8B593-4C2C-4CB9-826D-B4E86314D082}" dt="2023-08-17T09:56:19.275" v="1170" actId="12"/>
          <ac:spMkLst>
            <pc:docMk/>
            <pc:sldMk cId="4094892608" sldId="2147376107"/>
            <ac:spMk id="8" creationId="{0BB2360E-77DB-9151-2020-BDD0AFCEF593}"/>
          </ac:spMkLst>
        </pc:spChg>
        <pc:spChg chg="del">
          <ac:chgData name="Satish, Nitin" userId="f2ecb18b-41e0-4ce1-8908-feb500df1510" providerId="ADAL" clId="{3DD8B593-4C2C-4CB9-826D-B4E86314D082}" dt="2023-08-17T09:51:33.783" v="1119" actId="478"/>
          <ac:spMkLst>
            <pc:docMk/>
            <pc:sldMk cId="4094892608" sldId="2147376107"/>
            <ac:spMk id="24" creationId="{319571C5-A3EA-FDEC-C94D-EAE6E7273D19}"/>
          </ac:spMkLst>
        </pc:spChg>
        <pc:spChg chg="del">
          <ac:chgData name="Satish, Nitin" userId="f2ecb18b-41e0-4ce1-8908-feb500df1510" providerId="ADAL" clId="{3DD8B593-4C2C-4CB9-826D-B4E86314D082}" dt="2023-08-17T09:51:43.847" v="1121" actId="478"/>
          <ac:spMkLst>
            <pc:docMk/>
            <pc:sldMk cId="4094892608" sldId="2147376107"/>
            <ac:spMk id="25" creationId="{30C92575-2187-9B7B-9EB3-5C5A61E3EC63}"/>
          </ac:spMkLst>
        </pc:spChg>
        <pc:spChg chg="del">
          <ac:chgData name="Satish, Nitin" userId="f2ecb18b-41e0-4ce1-8908-feb500df1510" providerId="ADAL" clId="{3DD8B593-4C2C-4CB9-826D-B4E86314D082}" dt="2023-08-17T09:51:42.059" v="1120" actId="478"/>
          <ac:spMkLst>
            <pc:docMk/>
            <pc:sldMk cId="4094892608" sldId="2147376107"/>
            <ac:spMk id="26" creationId="{BB4DC7F5-98A8-B981-1680-1E70DFD407F3}"/>
          </ac:spMkLst>
        </pc:spChg>
        <pc:spChg chg="del">
          <ac:chgData name="Satish, Nitin" userId="f2ecb18b-41e0-4ce1-8908-feb500df1510" providerId="ADAL" clId="{3DD8B593-4C2C-4CB9-826D-B4E86314D082}" dt="2023-08-17T09:51:42.059" v="1120" actId="478"/>
          <ac:spMkLst>
            <pc:docMk/>
            <pc:sldMk cId="4094892608" sldId="2147376107"/>
            <ac:spMk id="28" creationId="{00369FF2-2127-1FDF-DF2B-8B151AC9DAE5}"/>
          </ac:spMkLst>
        </pc:spChg>
        <pc:spChg chg="del">
          <ac:chgData name="Satish, Nitin" userId="f2ecb18b-41e0-4ce1-8908-feb500df1510" providerId="ADAL" clId="{3DD8B593-4C2C-4CB9-826D-B4E86314D082}" dt="2023-08-17T09:51:33.783" v="1119" actId="478"/>
          <ac:spMkLst>
            <pc:docMk/>
            <pc:sldMk cId="4094892608" sldId="2147376107"/>
            <ac:spMk id="29" creationId="{E692A0BD-AB91-85FF-6407-5B0B8C943F69}"/>
          </ac:spMkLst>
        </pc:spChg>
        <pc:spChg chg="mod">
          <ac:chgData name="Satish, Nitin" userId="f2ecb18b-41e0-4ce1-8908-feb500df1510" providerId="ADAL" clId="{3DD8B593-4C2C-4CB9-826D-B4E86314D082}" dt="2023-08-17T09:54:06.742" v="1147"/>
          <ac:spMkLst>
            <pc:docMk/>
            <pc:sldMk cId="4094892608" sldId="2147376107"/>
            <ac:spMk id="31" creationId="{9E9C482D-B1CA-250D-0B54-DF1FEC50B981}"/>
          </ac:spMkLst>
        </pc:spChg>
        <pc:picChg chg="add del mod">
          <ac:chgData name="Satish, Nitin" userId="f2ecb18b-41e0-4ce1-8908-feb500df1510" providerId="ADAL" clId="{3DD8B593-4C2C-4CB9-826D-B4E86314D082}" dt="2023-08-17T09:55:15.364" v="1154" actId="478"/>
          <ac:picMkLst>
            <pc:docMk/>
            <pc:sldMk cId="4094892608" sldId="2147376107"/>
            <ac:picMk id="7" creationId="{6825927E-7F25-0EBB-F81B-7D9D61412C93}"/>
          </ac:picMkLst>
        </pc:picChg>
        <pc:picChg chg="add mod">
          <ac:chgData name="Satish, Nitin" userId="f2ecb18b-41e0-4ce1-8908-feb500df1510" providerId="ADAL" clId="{3DD8B593-4C2C-4CB9-826D-B4E86314D082}" dt="2023-08-17T09:55:42.724" v="1158" actId="1076"/>
          <ac:picMkLst>
            <pc:docMk/>
            <pc:sldMk cId="4094892608" sldId="2147376107"/>
            <ac:picMk id="10" creationId="{CC627884-A469-333C-101A-3F25679802C9}"/>
          </ac:picMkLst>
        </pc:picChg>
        <pc:picChg chg="del mod">
          <ac:chgData name="Satish, Nitin" userId="f2ecb18b-41e0-4ce1-8908-feb500df1510" providerId="ADAL" clId="{3DD8B593-4C2C-4CB9-826D-B4E86314D082}" dt="2023-08-17T09:51:26.642" v="1116" actId="478"/>
          <ac:picMkLst>
            <pc:docMk/>
            <pc:sldMk cId="4094892608" sldId="2147376107"/>
            <ac:picMk id="52" creationId="{96B81786-3CB3-5004-6A17-AE6018B38A9C}"/>
          </ac:picMkLst>
        </pc:picChg>
        <pc:picChg chg="del">
          <ac:chgData name="Satish, Nitin" userId="f2ecb18b-41e0-4ce1-8908-feb500df1510" providerId="ADAL" clId="{3DD8B593-4C2C-4CB9-826D-B4E86314D082}" dt="2023-08-17T09:51:25.548" v="1114" actId="478"/>
          <ac:picMkLst>
            <pc:docMk/>
            <pc:sldMk cId="4094892608" sldId="2147376107"/>
            <ac:picMk id="54" creationId="{A2C04FD1-5ABC-527D-A0F8-D9BC1AEDAD3C}"/>
          </ac:picMkLst>
        </pc:picChg>
        <pc:picChg chg="del mod">
          <ac:chgData name="Satish, Nitin" userId="f2ecb18b-41e0-4ce1-8908-feb500df1510" providerId="ADAL" clId="{3DD8B593-4C2C-4CB9-826D-B4E86314D082}" dt="2023-08-17T09:51:28.033" v="1118" actId="478"/>
          <ac:picMkLst>
            <pc:docMk/>
            <pc:sldMk cId="4094892608" sldId="2147376107"/>
            <ac:picMk id="58" creationId="{7571FDD4-1321-7666-EC5C-024777904BE0}"/>
          </ac:picMkLst>
        </pc:picChg>
        <pc:picChg chg="del">
          <ac:chgData name="Satish, Nitin" userId="f2ecb18b-41e0-4ce1-8908-feb500df1510" providerId="ADAL" clId="{3DD8B593-4C2C-4CB9-826D-B4E86314D082}" dt="2023-08-17T09:51:33.783" v="1119" actId="478"/>
          <ac:picMkLst>
            <pc:docMk/>
            <pc:sldMk cId="4094892608" sldId="2147376107"/>
            <ac:picMk id="60" creationId="{47426515-086D-BFF7-0609-A749DE34ECF6}"/>
          </ac:picMkLst>
        </pc:picChg>
        <pc:cxnChg chg="del mod">
          <ac:chgData name="Satish, Nitin" userId="f2ecb18b-41e0-4ce1-8908-feb500df1510" providerId="ADAL" clId="{3DD8B593-4C2C-4CB9-826D-B4E86314D082}" dt="2023-08-17T09:51:42.059" v="1120" actId="478"/>
          <ac:cxnSpMkLst>
            <pc:docMk/>
            <pc:sldMk cId="4094892608" sldId="2147376107"/>
            <ac:cxnSpMk id="3" creationId="{879A36DE-C0F4-C4D2-F0C9-B5FAD11E92EA}"/>
          </ac:cxnSpMkLst>
        </pc:cxnChg>
        <pc:cxnChg chg="del mod">
          <ac:chgData name="Satish, Nitin" userId="f2ecb18b-41e0-4ce1-8908-feb500df1510" providerId="ADAL" clId="{3DD8B593-4C2C-4CB9-826D-B4E86314D082}" dt="2023-08-17T09:51:42.059" v="1120" actId="478"/>
          <ac:cxnSpMkLst>
            <pc:docMk/>
            <pc:sldMk cId="4094892608" sldId="2147376107"/>
            <ac:cxnSpMk id="11" creationId="{4A910C6E-472A-A1B5-D546-339B32C36036}"/>
          </ac:cxnSpMkLst>
        </pc:cxnChg>
        <pc:cxnChg chg="del mod">
          <ac:chgData name="Satish, Nitin" userId="f2ecb18b-41e0-4ce1-8908-feb500df1510" providerId="ADAL" clId="{3DD8B593-4C2C-4CB9-826D-B4E86314D082}" dt="2023-08-17T09:51:42.059" v="1120" actId="478"/>
          <ac:cxnSpMkLst>
            <pc:docMk/>
            <pc:sldMk cId="4094892608" sldId="2147376107"/>
            <ac:cxnSpMk id="17" creationId="{08BAA42B-B5F0-C6D8-4697-F512F38778A6}"/>
          </ac:cxnSpMkLst>
        </pc:cxnChg>
      </pc:sldChg>
      <pc:sldChg chg="addSp delSp modSp add mod setBg">
        <pc:chgData name="Satish, Nitin" userId="f2ecb18b-41e0-4ce1-8908-feb500df1510" providerId="ADAL" clId="{3DD8B593-4C2C-4CB9-826D-B4E86314D082}" dt="2023-08-17T11:20:07.879" v="1343" actId="164"/>
        <pc:sldMkLst>
          <pc:docMk/>
          <pc:sldMk cId="1472499976" sldId="2147376108"/>
        </pc:sldMkLst>
        <pc:spChg chg="add mod">
          <ac:chgData name="Satish, Nitin" userId="f2ecb18b-41e0-4ce1-8908-feb500df1510" providerId="ADAL" clId="{3DD8B593-4C2C-4CB9-826D-B4E86314D082}" dt="2023-08-17T11:18:35.990" v="1330"/>
          <ac:spMkLst>
            <pc:docMk/>
            <pc:sldMk cId="1472499976" sldId="2147376108"/>
            <ac:spMk id="3" creationId="{64554663-327A-078B-1961-36435051B5E2}"/>
          </ac:spMkLst>
        </pc:spChg>
        <pc:spChg chg="mod">
          <ac:chgData name="Satish, Nitin" userId="f2ecb18b-41e0-4ce1-8908-feb500df1510" providerId="ADAL" clId="{3DD8B593-4C2C-4CB9-826D-B4E86314D082}" dt="2023-08-17T11:20:07.879" v="1343" actId="164"/>
          <ac:spMkLst>
            <pc:docMk/>
            <pc:sldMk cId="1472499976" sldId="2147376108"/>
            <ac:spMk id="8" creationId="{0BB2360E-77DB-9151-2020-BDD0AFCEF593}"/>
          </ac:spMkLst>
        </pc:spChg>
        <pc:spChg chg="del mod">
          <ac:chgData name="Satish, Nitin" userId="f2ecb18b-41e0-4ce1-8908-feb500df1510" providerId="ADAL" clId="{3DD8B593-4C2C-4CB9-826D-B4E86314D082}" dt="2023-08-17T11:18:29.200" v="1325" actId="478"/>
          <ac:spMkLst>
            <pc:docMk/>
            <pc:sldMk cId="1472499976" sldId="2147376108"/>
            <ac:spMk id="31" creationId="{9E9C482D-B1CA-250D-0B54-DF1FEC50B981}"/>
          </ac:spMkLst>
        </pc:spChg>
        <pc:spChg chg="add">
          <ac:chgData name="Satish, Nitin" userId="f2ecb18b-41e0-4ce1-8908-feb500df1510" providerId="ADAL" clId="{3DD8B593-4C2C-4CB9-826D-B4E86314D082}" dt="2023-08-17T11:17:55.284" v="1318" actId="26606"/>
          <ac:spMkLst>
            <pc:docMk/>
            <pc:sldMk cId="1472499976" sldId="2147376108"/>
            <ac:spMk id="36" creationId="{F13C74B1-5B17-4795-BED0-7140497B445A}"/>
          </ac:spMkLst>
        </pc:spChg>
        <pc:spChg chg="add">
          <ac:chgData name="Satish, Nitin" userId="f2ecb18b-41e0-4ce1-8908-feb500df1510" providerId="ADAL" clId="{3DD8B593-4C2C-4CB9-826D-B4E86314D082}" dt="2023-08-17T11:17:55.284" v="1318" actId="26606"/>
          <ac:spMkLst>
            <pc:docMk/>
            <pc:sldMk cId="1472499976" sldId="2147376108"/>
            <ac:spMk id="38" creationId="{D4974D33-8DC5-464E-8C6D-BE58F0669C17}"/>
          </ac:spMkLst>
        </pc:spChg>
        <pc:grpChg chg="add mod">
          <ac:chgData name="Satish, Nitin" userId="f2ecb18b-41e0-4ce1-8908-feb500df1510" providerId="ADAL" clId="{3DD8B593-4C2C-4CB9-826D-B4E86314D082}" dt="2023-08-17T11:20:07.879" v="1343" actId="164"/>
          <ac:grpSpMkLst>
            <pc:docMk/>
            <pc:sldMk cId="1472499976" sldId="2147376108"/>
            <ac:grpSpMk id="9" creationId="{AFA12110-E989-AAAF-F8B5-B63163F24AE8}"/>
          </ac:grpSpMkLst>
        </pc:grpChg>
        <pc:picChg chg="add mod">
          <ac:chgData name="Satish, Nitin" userId="f2ecb18b-41e0-4ce1-8908-feb500df1510" providerId="ADAL" clId="{3DD8B593-4C2C-4CB9-826D-B4E86314D082}" dt="2023-08-17T11:17:55.284" v="1318" actId="26606"/>
          <ac:picMkLst>
            <pc:docMk/>
            <pc:sldMk cId="1472499976" sldId="2147376108"/>
            <ac:picMk id="2" creationId="{1542EED3-C678-2038-C318-3CD3D1936DEA}"/>
          </ac:picMkLst>
        </pc:picChg>
        <pc:picChg chg="add mod">
          <ac:chgData name="Satish, Nitin" userId="f2ecb18b-41e0-4ce1-8908-feb500df1510" providerId="ADAL" clId="{3DD8B593-4C2C-4CB9-826D-B4E86314D082}" dt="2023-08-17T11:19:44.851" v="1337" actId="571"/>
          <ac:picMkLst>
            <pc:docMk/>
            <pc:sldMk cId="1472499976" sldId="2147376108"/>
            <ac:picMk id="4" creationId="{64647AC1-72CC-701B-2CED-F29A4514EAC3}"/>
          </ac:picMkLst>
        </pc:picChg>
        <pc:picChg chg="add mod">
          <ac:chgData name="Satish, Nitin" userId="f2ecb18b-41e0-4ce1-8908-feb500df1510" providerId="ADAL" clId="{3DD8B593-4C2C-4CB9-826D-B4E86314D082}" dt="2023-08-17T11:20:07.879" v="1343" actId="164"/>
          <ac:picMkLst>
            <pc:docMk/>
            <pc:sldMk cId="1472499976" sldId="2147376108"/>
            <ac:picMk id="6" creationId="{30BEE57E-293A-1FF8-C31C-8EC6183151C4}"/>
          </ac:picMkLst>
        </pc:picChg>
        <pc:picChg chg="del">
          <ac:chgData name="Satish, Nitin" userId="f2ecb18b-41e0-4ce1-8908-feb500df1510" providerId="ADAL" clId="{3DD8B593-4C2C-4CB9-826D-B4E86314D082}" dt="2023-08-17T09:52:36.969" v="1131" actId="478"/>
          <ac:picMkLst>
            <pc:docMk/>
            <pc:sldMk cId="1472499976" sldId="2147376108"/>
            <ac:picMk id="7" creationId="{6825927E-7F25-0EBB-F81B-7D9D61412C93}"/>
          </ac:picMkLst>
        </pc:picChg>
      </pc:sldChg>
      <pc:sldChg chg="addSp delSp modSp new del mod">
        <pc:chgData name="Satish, Nitin" userId="f2ecb18b-41e0-4ce1-8908-feb500df1510" providerId="ADAL" clId="{3DD8B593-4C2C-4CB9-826D-B4E86314D082}" dt="2023-08-17T10:02:16.195" v="1194" actId="2696"/>
        <pc:sldMkLst>
          <pc:docMk/>
          <pc:sldMk cId="1184290251" sldId="2147376109"/>
        </pc:sldMkLst>
        <pc:picChg chg="add del mod">
          <ac:chgData name="Satish, Nitin" userId="f2ecb18b-41e0-4ce1-8908-feb500df1510" providerId="ADAL" clId="{3DD8B593-4C2C-4CB9-826D-B4E86314D082}" dt="2023-08-17T10:00:50.799" v="1182"/>
          <ac:picMkLst>
            <pc:docMk/>
            <pc:sldMk cId="1184290251" sldId="2147376109"/>
            <ac:picMk id="4" creationId="{30F9444D-0D1B-8714-4B80-624FDA52B0E0}"/>
          </ac:picMkLst>
        </pc:picChg>
        <pc:picChg chg="add del mod">
          <ac:chgData name="Satish, Nitin" userId="f2ecb18b-41e0-4ce1-8908-feb500df1510" providerId="ADAL" clId="{3DD8B593-4C2C-4CB9-826D-B4E86314D082}" dt="2023-08-17T10:01:35.074" v="1188" actId="478"/>
          <ac:picMkLst>
            <pc:docMk/>
            <pc:sldMk cId="1184290251" sldId="2147376109"/>
            <ac:picMk id="5" creationId="{458B3EE9-3A85-9E74-8CFD-33FAB7D52FE5}"/>
          </ac:picMkLst>
        </pc:picChg>
      </pc:sldChg>
      <pc:sldChg chg="delSp add del mod">
        <pc:chgData name="Satish, Nitin" userId="f2ecb18b-41e0-4ce1-8908-feb500df1510" providerId="ADAL" clId="{3DD8B593-4C2C-4CB9-826D-B4E86314D082}" dt="2023-08-17T11:12:43.592" v="1300" actId="47"/>
        <pc:sldMkLst>
          <pc:docMk/>
          <pc:sldMk cId="2558978064" sldId="2147376109"/>
        </pc:sldMkLst>
        <pc:spChg chg="del">
          <ac:chgData name="Satish, Nitin" userId="f2ecb18b-41e0-4ce1-8908-feb500df1510" providerId="ADAL" clId="{3DD8B593-4C2C-4CB9-826D-B4E86314D082}" dt="2023-08-17T11:12:17.773" v="1298" actId="478"/>
          <ac:spMkLst>
            <pc:docMk/>
            <pc:sldMk cId="2558978064" sldId="2147376109"/>
            <ac:spMk id="27" creationId="{62664B7C-2E30-D4A8-5415-D99D6A8CCC01}"/>
          </ac:spMkLst>
        </pc:spChg>
        <pc:spChg chg="del">
          <ac:chgData name="Satish, Nitin" userId="f2ecb18b-41e0-4ce1-8908-feb500df1510" providerId="ADAL" clId="{3DD8B593-4C2C-4CB9-826D-B4E86314D082}" dt="2023-08-17T11:12:17.773" v="1298" actId="478"/>
          <ac:spMkLst>
            <pc:docMk/>
            <pc:sldMk cId="2558978064" sldId="2147376109"/>
            <ac:spMk id="31" creationId="{9E9C482D-B1CA-250D-0B54-DF1FEC50B981}"/>
          </ac:spMkLst>
        </pc:spChg>
        <pc:spChg chg="del">
          <ac:chgData name="Satish, Nitin" userId="f2ecb18b-41e0-4ce1-8908-feb500df1510" providerId="ADAL" clId="{3DD8B593-4C2C-4CB9-826D-B4E86314D082}" dt="2023-08-17T11:12:17.773" v="1298" actId="478"/>
          <ac:spMkLst>
            <pc:docMk/>
            <pc:sldMk cId="2558978064" sldId="2147376109"/>
            <ac:spMk id="32" creationId="{F2C679EA-6F3F-10AF-B322-DD51A400C618}"/>
          </ac:spMkLst>
        </pc:spChg>
        <pc:spChg chg="del">
          <ac:chgData name="Satish, Nitin" userId="f2ecb18b-41e0-4ce1-8908-feb500df1510" providerId="ADAL" clId="{3DD8B593-4C2C-4CB9-826D-B4E86314D082}" dt="2023-08-17T11:12:17.773" v="1298" actId="478"/>
          <ac:spMkLst>
            <pc:docMk/>
            <pc:sldMk cId="2558978064" sldId="2147376109"/>
            <ac:spMk id="33" creationId="{FF3BA1EB-E4BB-64C8-8B0C-D2B1772964EA}"/>
          </ac:spMkLst>
        </pc:spChg>
        <pc:spChg chg="del">
          <ac:chgData name="Satish, Nitin" userId="f2ecb18b-41e0-4ce1-8908-feb500df1510" providerId="ADAL" clId="{3DD8B593-4C2C-4CB9-826D-B4E86314D082}" dt="2023-08-17T11:12:17.773" v="1298" actId="478"/>
          <ac:spMkLst>
            <pc:docMk/>
            <pc:sldMk cId="2558978064" sldId="2147376109"/>
            <ac:spMk id="35" creationId="{EBE4F065-7F78-A8C2-9BA6-C0D21A8F7CAD}"/>
          </ac:spMkLst>
        </pc:spChg>
        <pc:spChg chg="del">
          <ac:chgData name="Satish, Nitin" userId="f2ecb18b-41e0-4ce1-8908-feb500df1510" providerId="ADAL" clId="{3DD8B593-4C2C-4CB9-826D-B4E86314D082}" dt="2023-08-17T11:12:17.773" v="1298" actId="478"/>
          <ac:spMkLst>
            <pc:docMk/>
            <pc:sldMk cId="2558978064" sldId="2147376109"/>
            <ac:spMk id="36" creationId="{382975F0-E670-9EAA-AD92-C3E99592E151}"/>
          </ac:spMkLst>
        </pc:spChg>
        <pc:spChg chg="del">
          <ac:chgData name="Satish, Nitin" userId="f2ecb18b-41e0-4ce1-8908-feb500df1510" providerId="ADAL" clId="{3DD8B593-4C2C-4CB9-826D-B4E86314D082}" dt="2023-08-17T11:12:17.773" v="1298" actId="478"/>
          <ac:spMkLst>
            <pc:docMk/>
            <pc:sldMk cId="2558978064" sldId="2147376109"/>
            <ac:spMk id="37" creationId="{3E268220-EB0A-AB3A-5490-F13AF75160FE}"/>
          </ac:spMkLst>
        </pc:spChg>
        <pc:spChg chg="del">
          <ac:chgData name="Satish, Nitin" userId="f2ecb18b-41e0-4ce1-8908-feb500df1510" providerId="ADAL" clId="{3DD8B593-4C2C-4CB9-826D-B4E86314D082}" dt="2023-08-17T11:12:34.757" v="1299" actId="478"/>
          <ac:spMkLst>
            <pc:docMk/>
            <pc:sldMk cId="2558978064" sldId="2147376109"/>
            <ac:spMk id="43" creationId="{05D8F3C2-1F91-2738-FD46-381A4D0E692B}"/>
          </ac:spMkLst>
        </pc:spChg>
        <pc:grpChg chg="del">
          <ac:chgData name="Satish, Nitin" userId="f2ecb18b-41e0-4ce1-8908-feb500df1510" providerId="ADAL" clId="{3DD8B593-4C2C-4CB9-826D-B4E86314D082}" dt="2023-08-17T11:12:17.773" v="1298" actId="478"/>
          <ac:grpSpMkLst>
            <pc:docMk/>
            <pc:sldMk cId="2558978064" sldId="2147376109"/>
            <ac:grpSpMk id="40" creationId="{A8058195-EEBA-0A77-D32B-C57FDDB572F9}"/>
          </ac:grpSpMkLst>
        </pc:grpChg>
        <pc:picChg chg="del">
          <ac:chgData name="Satish, Nitin" userId="f2ecb18b-41e0-4ce1-8908-feb500df1510" providerId="ADAL" clId="{3DD8B593-4C2C-4CB9-826D-B4E86314D082}" dt="2023-08-17T11:12:17.773" v="1298" actId="478"/>
          <ac:picMkLst>
            <pc:docMk/>
            <pc:sldMk cId="2558978064" sldId="2147376109"/>
            <ac:picMk id="42" creationId="{BAB42309-C48F-A6D4-52A2-0872C3720D72}"/>
          </ac:picMkLst>
        </pc:picChg>
      </pc:sldChg>
      <pc:sldChg chg="delSp modSp add mod">
        <pc:chgData name="Satish, Nitin" userId="f2ecb18b-41e0-4ce1-8908-feb500df1510" providerId="ADAL" clId="{3DD8B593-4C2C-4CB9-826D-B4E86314D082}" dt="2023-08-18T08:35:35.804" v="1524" actId="1076"/>
        <pc:sldMkLst>
          <pc:docMk/>
          <pc:sldMk cId="3136504384" sldId="2147376109"/>
        </pc:sldMkLst>
        <pc:spChg chg="mod">
          <ac:chgData name="Satish, Nitin" userId="f2ecb18b-41e0-4ce1-8908-feb500df1510" providerId="ADAL" clId="{3DD8B593-4C2C-4CB9-826D-B4E86314D082}" dt="2023-08-18T07:11:15.199" v="1515" actId="1076"/>
          <ac:spMkLst>
            <pc:docMk/>
            <pc:sldMk cId="3136504384" sldId="2147376109"/>
            <ac:spMk id="2" creationId="{5CFF8D52-9C48-489C-A115-91BD5ACD2F98}"/>
          </ac:spMkLst>
        </pc:spChg>
        <pc:spChg chg="mod">
          <ac:chgData name="Satish, Nitin" userId="f2ecb18b-41e0-4ce1-8908-feb500df1510" providerId="ADAL" clId="{3DD8B593-4C2C-4CB9-826D-B4E86314D082}" dt="2023-08-18T07:09:20.143" v="1510" actId="1076"/>
          <ac:spMkLst>
            <pc:docMk/>
            <pc:sldMk cId="3136504384" sldId="2147376109"/>
            <ac:spMk id="3" creationId="{F78BE386-FDE6-4860-8E4A-E8C3CB63A0EE}"/>
          </ac:spMkLst>
        </pc:spChg>
        <pc:spChg chg="mod">
          <ac:chgData name="Satish, Nitin" userId="f2ecb18b-41e0-4ce1-8908-feb500df1510" providerId="ADAL" clId="{3DD8B593-4C2C-4CB9-826D-B4E86314D082}" dt="2023-08-18T07:11:19.022" v="1516" actId="1076"/>
          <ac:spMkLst>
            <pc:docMk/>
            <pc:sldMk cId="3136504384" sldId="2147376109"/>
            <ac:spMk id="15" creationId="{C335512C-9F24-41C8-949C-138B1CD3E698}"/>
          </ac:spMkLst>
        </pc:spChg>
        <pc:spChg chg="mod">
          <ac:chgData name="Satish, Nitin" userId="f2ecb18b-41e0-4ce1-8908-feb500df1510" providerId="ADAL" clId="{3DD8B593-4C2C-4CB9-826D-B4E86314D082}" dt="2023-08-18T07:11:21.678" v="1517" actId="1076"/>
          <ac:spMkLst>
            <pc:docMk/>
            <pc:sldMk cId="3136504384" sldId="2147376109"/>
            <ac:spMk id="17" creationId="{0BE15B00-C228-474A-B89A-AE970BF56579}"/>
          </ac:spMkLst>
        </pc:spChg>
        <pc:spChg chg="mod">
          <ac:chgData name="Satish, Nitin" userId="f2ecb18b-41e0-4ce1-8908-feb500df1510" providerId="ADAL" clId="{3DD8B593-4C2C-4CB9-826D-B4E86314D082}" dt="2023-08-18T07:10:38.498" v="1513" actId="1076"/>
          <ac:spMkLst>
            <pc:docMk/>
            <pc:sldMk cId="3136504384" sldId="2147376109"/>
            <ac:spMk id="18" creationId="{FE6675B7-F118-41C4-9E07-3B0513518E23}"/>
          </ac:spMkLst>
        </pc:spChg>
        <pc:spChg chg="mod">
          <ac:chgData name="Satish, Nitin" userId="f2ecb18b-41e0-4ce1-8908-feb500df1510" providerId="ADAL" clId="{3DD8B593-4C2C-4CB9-826D-B4E86314D082}" dt="2023-08-18T07:10:17.217" v="1512" actId="1076"/>
          <ac:spMkLst>
            <pc:docMk/>
            <pc:sldMk cId="3136504384" sldId="2147376109"/>
            <ac:spMk id="21" creationId="{918854B7-B6DF-4B78-A146-4407A2547AA9}"/>
          </ac:spMkLst>
        </pc:spChg>
        <pc:spChg chg="mod">
          <ac:chgData name="Satish, Nitin" userId="f2ecb18b-41e0-4ce1-8908-feb500df1510" providerId="ADAL" clId="{3DD8B593-4C2C-4CB9-826D-B4E86314D082}" dt="2023-08-18T07:09:10.395" v="1509" actId="1076"/>
          <ac:spMkLst>
            <pc:docMk/>
            <pc:sldMk cId="3136504384" sldId="2147376109"/>
            <ac:spMk id="22" creationId="{8251DA8F-ED81-46B2-AFC3-3AEC74B49DB3}"/>
          </ac:spMkLst>
        </pc:spChg>
        <pc:spChg chg="mod">
          <ac:chgData name="Satish, Nitin" userId="f2ecb18b-41e0-4ce1-8908-feb500df1510" providerId="ADAL" clId="{3DD8B593-4C2C-4CB9-826D-B4E86314D082}" dt="2023-08-18T07:10:45.765" v="1514" actId="1076"/>
          <ac:spMkLst>
            <pc:docMk/>
            <pc:sldMk cId="3136504384" sldId="2147376109"/>
            <ac:spMk id="25" creationId="{56C9EB3C-CD8B-4F4A-A82D-A057738245CB}"/>
          </ac:spMkLst>
        </pc:spChg>
        <pc:spChg chg="mod">
          <ac:chgData name="Satish, Nitin" userId="f2ecb18b-41e0-4ce1-8908-feb500df1510" providerId="ADAL" clId="{3DD8B593-4C2C-4CB9-826D-B4E86314D082}" dt="2023-08-18T07:09:10.395" v="1509" actId="1076"/>
          <ac:spMkLst>
            <pc:docMk/>
            <pc:sldMk cId="3136504384" sldId="2147376109"/>
            <ac:spMk id="26" creationId="{4346E778-0B2D-4A9B-ABFE-C3814007D016}"/>
          </ac:spMkLst>
        </pc:spChg>
        <pc:spChg chg="mod">
          <ac:chgData name="Satish, Nitin" userId="f2ecb18b-41e0-4ce1-8908-feb500df1510" providerId="ADAL" clId="{3DD8B593-4C2C-4CB9-826D-B4E86314D082}" dt="2023-08-18T07:09:29.172" v="1511" actId="1076"/>
          <ac:spMkLst>
            <pc:docMk/>
            <pc:sldMk cId="3136504384" sldId="2147376109"/>
            <ac:spMk id="27" creationId="{5CB8BEC3-67AC-456B-A95E-99857A89D1B2}"/>
          </ac:spMkLst>
        </pc:spChg>
        <pc:spChg chg="mod">
          <ac:chgData name="Satish, Nitin" userId="f2ecb18b-41e0-4ce1-8908-feb500df1510" providerId="ADAL" clId="{3DD8B593-4C2C-4CB9-826D-B4E86314D082}" dt="2023-08-18T07:09:10.395" v="1509" actId="1076"/>
          <ac:spMkLst>
            <pc:docMk/>
            <pc:sldMk cId="3136504384" sldId="2147376109"/>
            <ac:spMk id="28" creationId="{D26DA2AC-FE15-40F9-9E9B-544270F40A72}"/>
          </ac:spMkLst>
        </pc:spChg>
        <pc:spChg chg="mod">
          <ac:chgData name="Satish, Nitin" userId="f2ecb18b-41e0-4ce1-8908-feb500df1510" providerId="ADAL" clId="{3DD8B593-4C2C-4CB9-826D-B4E86314D082}" dt="2023-08-18T07:09:10.395" v="1509" actId="1076"/>
          <ac:spMkLst>
            <pc:docMk/>
            <pc:sldMk cId="3136504384" sldId="2147376109"/>
            <ac:spMk id="29" creationId="{46F0A7C9-7574-4BA7-9D1D-EF7FF473089F}"/>
          </ac:spMkLst>
        </pc:spChg>
        <pc:spChg chg="mod">
          <ac:chgData name="Satish, Nitin" userId="f2ecb18b-41e0-4ce1-8908-feb500df1510" providerId="ADAL" clId="{3DD8B593-4C2C-4CB9-826D-B4E86314D082}" dt="2023-08-18T08:35:35.804" v="1524" actId="1076"/>
          <ac:spMkLst>
            <pc:docMk/>
            <pc:sldMk cId="3136504384" sldId="2147376109"/>
            <ac:spMk id="31" creationId="{2ECE8DE1-A6A0-4145-A40A-275C7D10F09E}"/>
          </ac:spMkLst>
        </pc:spChg>
        <pc:spChg chg="mod">
          <ac:chgData name="Satish, Nitin" userId="f2ecb18b-41e0-4ce1-8908-feb500df1510" providerId="ADAL" clId="{3DD8B593-4C2C-4CB9-826D-B4E86314D082}" dt="2023-08-18T07:09:10.395" v="1509" actId="1076"/>
          <ac:spMkLst>
            <pc:docMk/>
            <pc:sldMk cId="3136504384" sldId="2147376109"/>
            <ac:spMk id="32" creationId="{5A8BFF16-65D2-4A0F-99F3-CA014C0E0324}"/>
          </ac:spMkLst>
        </pc:spChg>
        <pc:spChg chg="mod">
          <ac:chgData name="Satish, Nitin" userId="f2ecb18b-41e0-4ce1-8908-feb500df1510" providerId="ADAL" clId="{3DD8B593-4C2C-4CB9-826D-B4E86314D082}" dt="2023-08-18T07:11:24.478" v="1518" actId="1076"/>
          <ac:spMkLst>
            <pc:docMk/>
            <pc:sldMk cId="3136504384" sldId="2147376109"/>
            <ac:spMk id="33" creationId="{014738F1-862B-45B6-BB70-464B967F08C2}"/>
          </ac:spMkLst>
        </pc:spChg>
        <pc:spChg chg="mod">
          <ac:chgData name="Satish, Nitin" userId="f2ecb18b-41e0-4ce1-8908-feb500df1510" providerId="ADAL" clId="{3DD8B593-4C2C-4CB9-826D-B4E86314D082}" dt="2023-08-18T07:09:10.395" v="1509" actId="1076"/>
          <ac:spMkLst>
            <pc:docMk/>
            <pc:sldMk cId="3136504384" sldId="2147376109"/>
            <ac:spMk id="34" creationId="{D389322F-09FB-44EA-99B8-6394E3CD9D4F}"/>
          </ac:spMkLst>
        </pc:spChg>
        <pc:spChg chg="mod">
          <ac:chgData name="Satish, Nitin" userId="f2ecb18b-41e0-4ce1-8908-feb500df1510" providerId="ADAL" clId="{3DD8B593-4C2C-4CB9-826D-B4E86314D082}" dt="2023-08-18T07:09:10.395" v="1509" actId="1076"/>
          <ac:spMkLst>
            <pc:docMk/>
            <pc:sldMk cId="3136504384" sldId="2147376109"/>
            <ac:spMk id="40" creationId="{6C6C959F-AB6D-44CF-A689-DC3B4F1DBA49}"/>
          </ac:spMkLst>
        </pc:spChg>
        <pc:spChg chg="mod">
          <ac:chgData name="Satish, Nitin" userId="f2ecb18b-41e0-4ce1-8908-feb500df1510" providerId="ADAL" clId="{3DD8B593-4C2C-4CB9-826D-B4E86314D082}" dt="2023-08-18T07:09:10.395" v="1509" actId="1076"/>
          <ac:spMkLst>
            <pc:docMk/>
            <pc:sldMk cId="3136504384" sldId="2147376109"/>
            <ac:spMk id="41" creationId="{9FAA9C55-C719-4E7F-A016-17223AF39B3E}"/>
          </ac:spMkLst>
        </pc:spChg>
        <pc:spChg chg="mod">
          <ac:chgData name="Satish, Nitin" userId="f2ecb18b-41e0-4ce1-8908-feb500df1510" providerId="ADAL" clId="{3DD8B593-4C2C-4CB9-826D-B4E86314D082}" dt="2023-08-18T07:09:10.395" v="1509" actId="1076"/>
          <ac:spMkLst>
            <pc:docMk/>
            <pc:sldMk cId="3136504384" sldId="2147376109"/>
            <ac:spMk id="42" creationId="{D3962F5D-B2C4-43CD-849C-92907BAF7139}"/>
          </ac:spMkLst>
        </pc:spChg>
        <pc:cxnChg chg="mod">
          <ac:chgData name="Satish, Nitin" userId="f2ecb18b-41e0-4ce1-8908-feb500df1510" providerId="ADAL" clId="{3DD8B593-4C2C-4CB9-826D-B4E86314D082}" dt="2023-08-18T07:08:56.417" v="1508" actId="1076"/>
          <ac:cxnSpMkLst>
            <pc:docMk/>
            <pc:sldMk cId="3136504384" sldId="2147376109"/>
            <ac:cxnSpMk id="5" creationId="{4C40EF82-8978-4718-BE84-2FAAB950E4DC}"/>
          </ac:cxnSpMkLst>
        </pc:cxnChg>
        <pc:cxnChg chg="mod">
          <ac:chgData name="Satish, Nitin" userId="f2ecb18b-41e0-4ce1-8908-feb500df1510" providerId="ADAL" clId="{3DD8B593-4C2C-4CB9-826D-B4E86314D082}" dt="2023-08-18T05:13:04.824" v="1460" actId="1076"/>
          <ac:cxnSpMkLst>
            <pc:docMk/>
            <pc:sldMk cId="3136504384" sldId="2147376109"/>
            <ac:cxnSpMk id="19" creationId="{C7873FAC-CFBD-431F-B1F5-A9E6B4CB8BB5}"/>
          </ac:cxnSpMkLst>
        </pc:cxnChg>
        <pc:cxnChg chg="mod">
          <ac:chgData name="Satish, Nitin" userId="f2ecb18b-41e0-4ce1-8908-feb500df1510" providerId="ADAL" clId="{3DD8B593-4C2C-4CB9-826D-B4E86314D082}" dt="2023-08-18T07:09:10.395" v="1509" actId="1076"/>
          <ac:cxnSpMkLst>
            <pc:docMk/>
            <pc:sldMk cId="3136504384" sldId="2147376109"/>
            <ac:cxnSpMk id="20" creationId="{56D2771F-F3B8-4763-8B34-95149ACF4C64}"/>
          </ac:cxnSpMkLst>
        </pc:cxnChg>
        <pc:cxnChg chg="mod">
          <ac:chgData name="Satish, Nitin" userId="f2ecb18b-41e0-4ce1-8908-feb500df1510" providerId="ADAL" clId="{3DD8B593-4C2C-4CB9-826D-B4E86314D082}" dt="2023-08-18T05:13:32.840" v="1465" actId="1076"/>
          <ac:cxnSpMkLst>
            <pc:docMk/>
            <pc:sldMk cId="3136504384" sldId="2147376109"/>
            <ac:cxnSpMk id="24" creationId="{A0753A15-849B-4169-A43A-480EE8E011F5}"/>
          </ac:cxnSpMkLst>
        </pc:cxnChg>
        <pc:cxnChg chg="del">
          <ac:chgData name="Satish, Nitin" userId="f2ecb18b-41e0-4ce1-8908-feb500df1510" providerId="ADAL" clId="{3DD8B593-4C2C-4CB9-826D-B4E86314D082}" dt="2023-08-18T05:03:38.559" v="1412" actId="478"/>
          <ac:cxnSpMkLst>
            <pc:docMk/>
            <pc:sldMk cId="3136504384" sldId="2147376109"/>
            <ac:cxnSpMk id="35" creationId="{734435E4-21A2-48B4-84DE-7C2EE32320D1}"/>
          </ac:cxnSpMkLst>
        </pc:cxnChg>
        <pc:cxnChg chg="mod">
          <ac:chgData name="Satish, Nitin" userId="f2ecb18b-41e0-4ce1-8908-feb500df1510" providerId="ADAL" clId="{3DD8B593-4C2C-4CB9-826D-B4E86314D082}" dt="2023-08-18T07:09:10.395" v="1509" actId="1076"/>
          <ac:cxnSpMkLst>
            <pc:docMk/>
            <pc:sldMk cId="3136504384" sldId="2147376109"/>
            <ac:cxnSpMk id="38" creationId="{C0342BEA-CBC2-4EA9-9598-992A65D05E29}"/>
          </ac:cxnSpMkLst>
        </pc:cxnChg>
        <pc:cxnChg chg="mod">
          <ac:chgData name="Satish, Nitin" userId="f2ecb18b-41e0-4ce1-8908-feb500df1510" providerId="ADAL" clId="{3DD8B593-4C2C-4CB9-826D-B4E86314D082}" dt="2023-08-18T07:09:10.395" v="1509" actId="1076"/>
          <ac:cxnSpMkLst>
            <pc:docMk/>
            <pc:sldMk cId="3136504384" sldId="2147376109"/>
            <ac:cxnSpMk id="39" creationId="{00479A10-A51F-4D6B-922A-E335F2DADBC3}"/>
          </ac:cxnSpMkLst>
        </pc:cxnChg>
      </pc:sldChg>
      <pc:sldMasterChg chg="delSldLayout">
        <pc:chgData name="Satish, Nitin" userId="f2ecb18b-41e0-4ce1-8908-feb500df1510" providerId="ADAL" clId="{3DD8B593-4C2C-4CB9-826D-B4E86314D082}" dt="2023-08-17T11:15:28.381" v="1312" actId="2696"/>
        <pc:sldMasterMkLst>
          <pc:docMk/>
          <pc:sldMasterMk cId="3509259951" sldId="2147483648"/>
        </pc:sldMasterMkLst>
        <pc:sldLayoutChg chg="del">
          <pc:chgData name="Satish, Nitin" userId="f2ecb18b-41e0-4ce1-8908-feb500df1510" providerId="ADAL" clId="{3DD8B593-4C2C-4CB9-826D-B4E86314D082}" dt="2023-08-17T11:15:28.381" v="1312" actId="2696"/>
          <pc:sldLayoutMkLst>
            <pc:docMk/>
            <pc:sldMasterMk cId="3509259951" sldId="2147483648"/>
            <pc:sldLayoutMk cId="3955544559" sldId="2147483684"/>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063735-2A40-4E24-9055-12824FEBB085}" type="datetimeFigureOut">
              <a:rPr lang="en-US" smtClean="0"/>
              <a:t>8/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66F5E31-EE2E-4195-A665-14712B1C9039}" type="slidenum">
              <a:rPr lang="en-US" smtClean="0"/>
              <a:t>‹#›</a:t>
            </a:fld>
            <a:endParaRPr lang="en-US"/>
          </a:p>
        </p:txBody>
      </p:sp>
    </p:spTree>
    <p:extLst>
      <p:ext uri="{BB962C8B-B14F-4D97-AF65-F5344CB8AC3E}">
        <p14:creationId xmlns:p14="http://schemas.microsoft.com/office/powerpoint/2010/main" val="3824174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66F5E31-EE2E-4195-A665-14712B1C9039}" type="slidenum">
              <a:rPr lang="en-US" smtClean="0"/>
              <a:t>2</a:t>
            </a:fld>
            <a:endParaRPr lang="en-US"/>
          </a:p>
        </p:txBody>
      </p:sp>
    </p:spTree>
    <p:extLst>
      <p:ext uri="{BB962C8B-B14F-4D97-AF65-F5344CB8AC3E}">
        <p14:creationId xmlns:p14="http://schemas.microsoft.com/office/powerpoint/2010/main" val="17372655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2.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16.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1.png"/><Relationship Id="rId2" Type="http://schemas.openxmlformats.org/officeDocument/2006/relationships/tags" Target="../tags/tag15.xml"/><Relationship Id="rId16" Type="http://schemas.openxmlformats.org/officeDocument/2006/relationships/image" Target="../media/image8.png"/><Relationship Id="rId1" Type="http://schemas.openxmlformats.org/officeDocument/2006/relationships/tags" Target="../tags/tag14.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3.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17.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D8E66-A63C-5FED-9D82-9946AC8905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100EE9C-1747-A752-EA21-19D5F9BC461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B70B19B-8C15-6540-121A-E99DDB591BED}"/>
              </a:ext>
            </a:extLst>
          </p:cNvPr>
          <p:cNvSpPr>
            <a:spLocks noGrp="1"/>
          </p:cNvSpPr>
          <p:nvPr>
            <p:ph type="dt" sz="half" idx="10"/>
          </p:nvPr>
        </p:nvSpPr>
        <p:spPr/>
        <p:txBody>
          <a:bodyPr/>
          <a:lstStyle/>
          <a:p>
            <a:fld id="{429FCFD7-3AE8-4B5F-A9D3-FF925B4C47D8}" type="datetimeFigureOut">
              <a:rPr lang="en-US" smtClean="0"/>
              <a:t>8/18/2023</a:t>
            </a:fld>
            <a:endParaRPr lang="en-US"/>
          </a:p>
        </p:txBody>
      </p:sp>
      <p:sp>
        <p:nvSpPr>
          <p:cNvPr id="5" name="Footer Placeholder 4">
            <a:extLst>
              <a:ext uri="{FF2B5EF4-FFF2-40B4-BE49-F238E27FC236}">
                <a16:creationId xmlns:a16="http://schemas.microsoft.com/office/drawing/2014/main" id="{3DC059C9-71BC-3722-D9B5-98131294B1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E29767-7BE6-FB5A-31FE-53E73330E829}"/>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14409512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9ED58-C920-1E6F-170F-BC44C802BF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C798E84-B55B-A5CA-93D6-58EF0AA864E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9487ED-F4AE-195D-3B1C-6478FA46A8D6}"/>
              </a:ext>
            </a:extLst>
          </p:cNvPr>
          <p:cNvSpPr>
            <a:spLocks noGrp="1"/>
          </p:cNvSpPr>
          <p:nvPr>
            <p:ph type="dt" sz="half" idx="10"/>
          </p:nvPr>
        </p:nvSpPr>
        <p:spPr/>
        <p:txBody>
          <a:bodyPr/>
          <a:lstStyle/>
          <a:p>
            <a:fld id="{429FCFD7-3AE8-4B5F-A9D3-FF925B4C47D8}" type="datetimeFigureOut">
              <a:rPr lang="en-US" smtClean="0"/>
              <a:t>8/18/2023</a:t>
            </a:fld>
            <a:endParaRPr lang="en-US"/>
          </a:p>
        </p:txBody>
      </p:sp>
      <p:sp>
        <p:nvSpPr>
          <p:cNvPr id="5" name="Footer Placeholder 4">
            <a:extLst>
              <a:ext uri="{FF2B5EF4-FFF2-40B4-BE49-F238E27FC236}">
                <a16:creationId xmlns:a16="http://schemas.microsoft.com/office/drawing/2014/main" id="{CFD1A467-DB5F-D478-4412-6375775464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71E0031-B5E7-DD41-B8CC-16B8363A9850}"/>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31597280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F0E0C8-2C13-E3A9-D900-4BE12FFAB1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E401919-3B61-CF68-4369-4A6EE849037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D2CBC5-D153-31F1-041A-A2D04DD1515E}"/>
              </a:ext>
            </a:extLst>
          </p:cNvPr>
          <p:cNvSpPr>
            <a:spLocks noGrp="1"/>
          </p:cNvSpPr>
          <p:nvPr>
            <p:ph type="dt" sz="half" idx="10"/>
          </p:nvPr>
        </p:nvSpPr>
        <p:spPr/>
        <p:txBody>
          <a:bodyPr/>
          <a:lstStyle/>
          <a:p>
            <a:fld id="{429FCFD7-3AE8-4B5F-A9D3-FF925B4C47D8}" type="datetimeFigureOut">
              <a:rPr lang="en-US" smtClean="0"/>
              <a:t>8/18/2023</a:t>
            </a:fld>
            <a:endParaRPr lang="en-US"/>
          </a:p>
        </p:txBody>
      </p:sp>
      <p:sp>
        <p:nvSpPr>
          <p:cNvPr id="5" name="Footer Placeholder 4">
            <a:extLst>
              <a:ext uri="{FF2B5EF4-FFF2-40B4-BE49-F238E27FC236}">
                <a16:creationId xmlns:a16="http://schemas.microsoft.com/office/drawing/2014/main" id="{C2F873BA-893F-48AD-6A61-C78BEB2353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7CD93D-3294-66A5-2F54-AB640994F8F0}"/>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11860352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to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74878539"/>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58382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66955446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to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81446227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to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412350414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08942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644998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931438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5DB46-90D5-F3D7-185C-6C67286AEA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C7AB5B8-C65A-2D99-38B8-4EF65B08D19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3897AD-3490-B5E6-2D60-2E74D82A1205}"/>
              </a:ext>
            </a:extLst>
          </p:cNvPr>
          <p:cNvSpPr>
            <a:spLocks noGrp="1"/>
          </p:cNvSpPr>
          <p:nvPr>
            <p:ph type="dt" sz="half" idx="10"/>
          </p:nvPr>
        </p:nvSpPr>
        <p:spPr/>
        <p:txBody>
          <a:bodyPr/>
          <a:lstStyle/>
          <a:p>
            <a:fld id="{429FCFD7-3AE8-4B5F-A9D3-FF925B4C47D8}" type="datetimeFigureOut">
              <a:rPr lang="en-US" smtClean="0"/>
              <a:t>8/18/2023</a:t>
            </a:fld>
            <a:endParaRPr lang="en-US"/>
          </a:p>
        </p:txBody>
      </p:sp>
      <p:sp>
        <p:nvSpPr>
          <p:cNvPr id="5" name="Footer Placeholder 4">
            <a:extLst>
              <a:ext uri="{FF2B5EF4-FFF2-40B4-BE49-F238E27FC236}">
                <a16:creationId xmlns:a16="http://schemas.microsoft.com/office/drawing/2014/main" id="{5A952430-4433-D2C8-55EA-FA0F7A61CD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C4E85F-0F83-A74A-0B2B-700800971C79}"/>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41186276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4800230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199240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2744204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698018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5591550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9508483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7047843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2334374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91811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to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531845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DFE78-D2DC-8D28-2040-D72AE5B207F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619039E-3D8E-E9C5-9B55-57F18E911D1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964A70E-0071-6484-E726-14395A3A150C}"/>
              </a:ext>
            </a:extLst>
          </p:cNvPr>
          <p:cNvSpPr>
            <a:spLocks noGrp="1"/>
          </p:cNvSpPr>
          <p:nvPr>
            <p:ph type="dt" sz="half" idx="10"/>
          </p:nvPr>
        </p:nvSpPr>
        <p:spPr/>
        <p:txBody>
          <a:bodyPr/>
          <a:lstStyle/>
          <a:p>
            <a:fld id="{429FCFD7-3AE8-4B5F-A9D3-FF925B4C47D8}" type="datetimeFigureOut">
              <a:rPr lang="en-US" smtClean="0"/>
              <a:t>8/18/2023</a:t>
            </a:fld>
            <a:endParaRPr lang="en-US"/>
          </a:p>
        </p:txBody>
      </p:sp>
      <p:sp>
        <p:nvSpPr>
          <p:cNvPr id="5" name="Footer Placeholder 4">
            <a:extLst>
              <a:ext uri="{FF2B5EF4-FFF2-40B4-BE49-F238E27FC236}">
                <a16:creationId xmlns:a16="http://schemas.microsoft.com/office/drawing/2014/main" id="{3FC77B17-F908-3ACE-93DF-CF4CB5F447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D7BE53-1902-368E-EC30-451D6FC0B92B}"/>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24071527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to back</a:t>
            </a:r>
          </a:p>
        </p:txBody>
      </p:sp>
    </p:spTree>
    <p:extLst>
      <p:ext uri="{BB962C8B-B14F-4D97-AF65-F5344CB8AC3E}">
        <p14:creationId xmlns:p14="http://schemas.microsoft.com/office/powerpoint/2010/main" val="18893296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821606436"/>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4929006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935152102"/>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E64EF87-D1CA-4CDB-9C62-D7211166C32E}" type="datetimeFigureOut">
              <a:rPr lang="en-IN" smtClean="0"/>
              <a:t>18-08-2023</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330C1441-B84B-4A2C-924D-E67C2267A0D8}" type="slidenum">
              <a:rPr lang="en-IN" smtClean="0"/>
              <a:t>‹#›</a:t>
            </a:fld>
            <a:endParaRPr lang="en-IN"/>
          </a:p>
        </p:txBody>
      </p:sp>
    </p:spTree>
    <p:extLst>
      <p:ext uri="{BB962C8B-B14F-4D97-AF65-F5344CB8AC3E}">
        <p14:creationId xmlns:p14="http://schemas.microsoft.com/office/powerpoint/2010/main" val="11918101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4112965571"/>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to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7295745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to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282227904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814425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464330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58166-FBF0-8C7A-4C05-9B845F65DC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E561173-870D-7DFA-7AA8-236075F6C54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5307AB-7D72-083B-7628-6F18AD810BF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4073898-E7D4-CC8D-33B3-C49CB235379E}"/>
              </a:ext>
            </a:extLst>
          </p:cNvPr>
          <p:cNvSpPr>
            <a:spLocks noGrp="1"/>
          </p:cNvSpPr>
          <p:nvPr>
            <p:ph type="dt" sz="half" idx="10"/>
          </p:nvPr>
        </p:nvSpPr>
        <p:spPr/>
        <p:txBody>
          <a:bodyPr/>
          <a:lstStyle/>
          <a:p>
            <a:fld id="{429FCFD7-3AE8-4B5F-A9D3-FF925B4C47D8}" type="datetimeFigureOut">
              <a:rPr lang="en-US" smtClean="0"/>
              <a:t>8/18/2023</a:t>
            </a:fld>
            <a:endParaRPr lang="en-US"/>
          </a:p>
        </p:txBody>
      </p:sp>
      <p:sp>
        <p:nvSpPr>
          <p:cNvPr id="6" name="Footer Placeholder 5">
            <a:extLst>
              <a:ext uri="{FF2B5EF4-FFF2-40B4-BE49-F238E27FC236}">
                <a16:creationId xmlns:a16="http://schemas.microsoft.com/office/drawing/2014/main" id="{BCE11E7A-B34D-AC47-D77B-DA5BE4FEC6C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C4D04C-AEAC-44E1-8E84-F2DD17E7D011}"/>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8936233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130391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8243318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21457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460551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9429672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5434786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094572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28292530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7469048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6825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FDCC7-4863-47B4-A4F4-1A58570FFF8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B029C1-0EC7-9CDD-B4F5-91B48C6F44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1DCA881-DAA1-5954-CFA1-548B81DE9B0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E2A93E-1F26-853D-89AD-3967242DE8B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D41EDC2-0BE5-42A0-7DB9-93DB7D2B30F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50DA241-408A-FF64-9F79-89F22DF9EBC7}"/>
              </a:ext>
            </a:extLst>
          </p:cNvPr>
          <p:cNvSpPr>
            <a:spLocks noGrp="1"/>
          </p:cNvSpPr>
          <p:nvPr>
            <p:ph type="dt" sz="half" idx="10"/>
          </p:nvPr>
        </p:nvSpPr>
        <p:spPr/>
        <p:txBody>
          <a:bodyPr/>
          <a:lstStyle/>
          <a:p>
            <a:fld id="{429FCFD7-3AE8-4B5F-A9D3-FF925B4C47D8}" type="datetimeFigureOut">
              <a:rPr lang="en-US" smtClean="0"/>
              <a:t>8/18/2023</a:t>
            </a:fld>
            <a:endParaRPr lang="en-US"/>
          </a:p>
        </p:txBody>
      </p:sp>
      <p:sp>
        <p:nvSpPr>
          <p:cNvPr id="8" name="Footer Placeholder 7">
            <a:extLst>
              <a:ext uri="{FF2B5EF4-FFF2-40B4-BE49-F238E27FC236}">
                <a16:creationId xmlns:a16="http://schemas.microsoft.com/office/drawing/2014/main" id="{02E60CE3-7288-1B31-EBF6-2620085AF60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3D8B748-DE1E-B80F-01E1-781876E580E9}"/>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29961491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to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366961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to back</a:t>
            </a:r>
          </a:p>
        </p:txBody>
      </p:sp>
    </p:spTree>
    <p:extLst>
      <p:ext uri="{BB962C8B-B14F-4D97-AF65-F5344CB8AC3E}">
        <p14:creationId xmlns:p14="http://schemas.microsoft.com/office/powerpoint/2010/main" val="26936532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837482583"/>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err="1">
                <a:solidFill>
                  <a:schemeClr val="bg1"/>
                </a:solidFill>
                <a:latin typeface="Ubuntu" panose="020B0504030602030204" pitchFamily="34" charset="0"/>
                <a:cs typeface="Arial"/>
              </a:rPr>
              <a:t>Name</a:t>
            </a:r>
            <a:r>
              <a:rPr lang="en-US" sz="1200" b="1">
                <a:solidFill>
                  <a:schemeClr val="bg1"/>
                </a:solidFill>
                <a:latin typeface="Ubuntu" panose="020B0504030602030204" pitchFamily="34" charset="0"/>
                <a:cs typeface="Arial"/>
              </a:rPr>
              <a:t>,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0986538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923692306"/>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45654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9" name="Rectangle 8"/>
          <p:cNvSpPr/>
          <p:nvPr userDrawn="1"/>
        </p:nvSpPr>
        <p:spPr>
          <a:xfrm>
            <a:off x="256032" y="265176"/>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p:cNvCxnSpPr/>
          <p:nvPr userDrawn="1"/>
        </p:nvCxnSpPr>
        <p:spPr>
          <a:xfrm>
            <a:off x="604434" y="1196392"/>
            <a:ext cx="10983132"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0017C897-2775-4930-B0BE-BEB72453232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24584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E79D6-B55D-463D-BC1D-D209A125CA8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6D0C993-F5CC-477B-B067-42A54FBBD6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37B0DF4-4950-4799-8374-36395705649D}"/>
              </a:ext>
            </a:extLst>
          </p:cNvPr>
          <p:cNvSpPr>
            <a:spLocks noGrp="1"/>
          </p:cNvSpPr>
          <p:nvPr>
            <p:ph type="dt" sz="half" idx="10"/>
          </p:nvPr>
        </p:nvSpPr>
        <p:spPr/>
        <p:txBody>
          <a:bodyPr/>
          <a:lstStyle/>
          <a:p>
            <a:fld id="{1360B6CF-E395-4ECA-82FC-D2F3CAC02AE7}" type="datetimeFigureOut">
              <a:rPr lang="en-GB" smtClean="0"/>
              <a:t>18/08/2023</a:t>
            </a:fld>
            <a:endParaRPr lang="en-GB"/>
          </a:p>
        </p:txBody>
      </p:sp>
      <p:sp>
        <p:nvSpPr>
          <p:cNvPr id="5" name="Footer Placeholder 4">
            <a:extLst>
              <a:ext uri="{FF2B5EF4-FFF2-40B4-BE49-F238E27FC236}">
                <a16:creationId xmlns:a16="http://schemas.microsoft.com/office/drawing/2014/main" id="{D933C05F-1014-4B9B-8FF0-A2A1F24944E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379F586-37E2-4814-9522-235A9C195556}"/>
              </a:ext>
            </a:extLst>
          </p:cNvPr>
          <p:cNvSpPr>
            <a:spLocks noGrp="1"/>
          </p:cNvSpPr>
          <p:nvPr>
            <p:ph type="sldNum" sz="quarter" idx="12"/>
          </p:nvPr>
        </p:nvSpPr>
        <p:spPr/>
        <p:txBody>
          <a:bodyPr/>
          <a:lstStyle/>
          <a:p>
            <a:fld id="{04DB2AD6-EAE6-4B53-9D29-3F7F2D174E04}" type="slidenum">
              <a:rPr lang="en-GB" smtClean="0"/>
              <a:t>‹#›</a:t>
            </a:fld>
            <a:endParaRPr lang="en-GB"/>
          </a:p>
        </p:txBody>
      </p:sp>
    </p:spTree>
    <p:extLst>
      <p:ext uri="{BB962C8B-B14F-4D97-AF65-F5344CB8AC3E}">
        <p14:creationId xmlns:p14="http://schemas.microsoft.com/office/powerpoint/2010/main" val="29928734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51635-563A-1C2E-8169-5A989951C71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805C96-0BD6-90D4-E855-3A7D61B55DF8}"/>
              </a:ext>
            </a:extLst>
          </p:cNvPr>
          <p:cNvSpPr>
            <a:spLocks noGrp="1"/>
          </p:cNvSpPr>
          <p:nvPr>
            <p:ph type="dt" sz="half" idx="10"/>
          </p:nvPr>
        </p:nvSpPr>
        <p:spPr/>
        <p:txBody>
          <a:bodyPr/>
          <a:lstStyle/>
          <a:p>
            <a:fld id="{429FCFD7-3AE8-4B5F-A9D3-FF925B4C47D8}" type="datetimeFigureOut">
              <a:rPr lang="en-US" smtClean="0"/>
              <a:t>8/18/2023</a:t>
            </a:fld>
            <a:endParaRPr lang="en-US"/>
          </a:p>
        </p:txBody>
      </p:sp>
      <p:sp>
        <p:nvSpPr>
          <p:cNvPr id="4" name="Footer Placeholder 3">
            <a:extLst>
              <a:ext uri="{FF2B5EF4-FFF2-40B4-BE49-F238E27FC236}">
                <a16:creationId xmlns:a16="http://schemas.microsoft.com/office/drawing/2014/main" id="{109299B3-542A-CD4D-15BB-BB839C34DE6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FB33E60-B218-25CC-A7AF-074E9AD0ECC1}"/>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22127578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0B9352-6A27-60F5-04D8-484105E218F8}"/>
              </a:ext>
            </a:extLst>
          </p:cNvPr>
          <p:cNvSpPr>
            <a:spLocks noGrp="1"/>
          </p:cNvSpPr>
          <p:nvPr>
            <p:ph type="dt" sz="half" idx="10"/>
          </p:nvPr>
        </p:nvSpPr>
        <p:spPr/>
        <p:txBody>
          <a:bodyPr/>
          <a:lstStyle/>
          <a:p>
            <a:fld id="{429FCFD7-3AE8-4B5F-A9D3-FF925B4C47D8}" type="datetimeFigureOut">
              <a:rPr lang="en-US" smtClean="0"/>
              <a:t>8/18/2023</a:t>
            </a:fld>
            <a:endParaRPr lang="en-US"/>
          </a:p>
        </p:txBody>
      </p:sp>
      <p:sp>
        <p:nvSpPr>
          <p:cNvPr id="3" name="Footer Placeholder 2">
            <a:extLst>
              <a:ext uri="{FF2B5EF4-FFF2-40B4-BE49-F238E27FC236}">
                <a16:creationId xmlns:a16="http://schemas.microsoft.com/office/drawing/2014/main" id="{A36DEA8D-9575-634B-0321-5A9C5FF73E4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DC083B1-5B7E-65D9-43E4-0A303A3880FB}"/>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469573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DC213-81D5-0CB8-50F8-195098624C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84B4DC1-F5B5-278A-4561-2D672EA3096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C6EF82F-874F-84DF-83CD-CC1936672C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6958F37-2284-318A-FD23-BD544B4B94DB}"/>
              </a:ext>
            </a:extLst>
          </p:cNvPr>
          <p:cNvSpPr>
            <a:spLocks noGrp="1"/>
          </p:cNvSpPr>
          <p:nvPr>
            <p:ph type="dt" sz="half" idx="10"/>
          </p:nvPr>
        </p:nvSpPr>
        <p:spPr/>
        <p:txBody>
          <a:bodyPr/>
          <a:lstStyle/>
          <a:p>
            <a:fld id="{429FCFD7-3AE8-4B5F-A9D3-FF925B4C47D8}" type="datetimeFigureOut">
              <a:rPr lang="en-US" smtClean="0"/>
              <a:t>8/18/2023</a:t>
            </a:fld>
            <a:endParaRPr lang="en-US"/>
          </a:p>
        </p:txBody>
      </p:sp>
      <p:sp>
        <p:nvSpPr>
          <p:cNvPr id="6" name="Footer Placeholder 5">
            <a:extLst>
              <a:ext uri="{FF2B5EF4-FFF2-40B4-BE49-F238E27FC236}">
                <a16:creationId xmlns:a16="http://schemas.microsoft.com/office/drawing/2014/main" id="{F3178CF9-F28E-0CC3-B9F6-52B97D67FCF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C252EF-875F-871E-9FA4-41B1F07EF023}"/>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20470297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3EC8E-F8A4-7ABF-1D4E-17B8595FA0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368423A-4185-52B4-2790-DB07CC5CC1C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F011A8-FFA0-1DC2-F333-702DE5E447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AFCC83D-C123-E6D1-949C-C43C74988B3C}"/>
              </a:ext>
            </a:extLst>
          </p:cNvPr>
          <p:cNvSpPr>
            <a:spLocks noGrp="1"/>
          </p:cNvSpPr>
          <p:nvPr>
            <p:ph type="dt" sz="half" idx="10"/>
          </p:nvPr>
        </p:nvSpPr>
        <p:spPr/>
        <p:txBody>
          <a:bodyPr/>
          <a:lstStyle/>
          <a:p>
            <a:fld id="{429FCFD7-3AE8-4B5F-A9D3-FF925B4C47D8}" type="datetimeFigureOut">
              <a:rPr lang="en-US" smtClean="0"/>
              <a:t>8/18/2023</a:t>
            </a:fld>
            <a:endParaRPr lang="en-US"/>
          </a:p>
        </p:txBody>
      </p:sp>
      <p:sp>
        <p:nvSpPr>
          <p:cNvPr id="6" name="Footer Placeholder 5">
            <a:extLst>
              <a:ext uri="{FF2B5EF4-FFF2-40B4-BE49-F238E27FC236}">
                <a16:creationId xmlns:a16="http://schemas.microsoft.com/office/drawing/2014/main" id="{2BDFAE47-06C8-3AF3-2E10-E94707FCBF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4790C2-1E93-1725-7921-745EB1E39C34}"/>
              </a:ext>
            </a:extLst>
          </p:cNvPr>
          <p:cNvSpPr>
            <a:spLocks noGrp="1"/>
          </p:cNvSpPr>
          <p:nvPr>
            <p:ph type="sldNum" sz="quarter" idx="12"/>
          </p:nvPr>
        </p:nvSpPr>
        <p:spPr/>
        <p:txBody>
          <a:bodyPr/>
          <a:lstStyle/>
          <a:p>
            <a:fld id="{F55876E5-71BC-495B-9A07-4CD2AF425104}" type="slidenum">
              <a:rPr lang="en-US" smtClean="0"/>
              <a:t>‹#›</a:t>
            </a:fld>
            <a:endParaRPr lang="en-US"/>
          </a:p>
        </p:txBody>
      </p:sp>
    </p:spTree>
    <p:extLst>
      <p:ext uri="{BB962C8B-B14F-4D97-AF65-F5344CB8AC3E}">
        <p14:creationId xmlns:p14="http://schemas.microsoft.com/office/powerpoint/2010/main" val="1034088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image" Target="../media/image2.emf"/><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oleObject" Target="../embeddings/oleObject2.bin"/><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tags" Target="../tags/tag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oleObject" Target="../embeddings/oleObject4.bin"/><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tags" Target="../tags/tag10.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heme" Target="../theme/theme3.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B7C0DCA-D08B-8BCF-C1FE-69C48AB29D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EF6174D-860B-F424-C2E2-24B16259AE2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55DD8D-4F94-8F5B-6FF3-4D5473CAC73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29FCFD7-3AE8-4B5F-A9D3-FF925B4C47D8}" type="datetimeFigureOut">
              <a:rPr lang="en-US" smtClean="0"/>
              <a:t>8/18/2023</a:t>
            </a:fld>
            <a:endParaRPr lang="en-US"/>
          </a:p>
        </p:txBody>
      </p:sp>
      <p:sp>
        <p:nvSpPr>
          <p:cNvPr id="5" name="Footer Placeholder 4">
            <a:extLst>
              <a:ext uri="{FF2B5EF4-FFF2-40B4-BE49-F238E27FC236}">
                <a16:creationId xmlns:a16="http://schemas.microsoft.com/office/drawing/2014/main" id="{E51EC165-B52D-7338-DD2F-F67F0428155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1B3FB34-6996-E482-6F50-D7EC669734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5876E5-71BC-495B-9A07-4CD2AF425104}" type="slidenum">
              <a:rPr lang="en-US" smtClean="0"/>
              <a:t>‹#›</a:t>
            </a:fld>
            <a:endParaRPr lang="en-US"/>
          </a:p>
        </p:txBody>
      </p:sp>
    </p:spTree>
    <p:extLst>
      <p:ext uri="{BB962C8B-B14F-4D97-AF65-F5344CB8AC3E}">
        <p14:creationId xmlns:p14="http://schemas.microsoft.com/office/powerpoint/2010/main" val="35092599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Proposal for SAS migration | April 2022</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3002148746"/>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5"/>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1" name="Object 2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Proposal for SAS migration | April 2022</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152873860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xml"/><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a:xfrm>
            <a:off x="404814" y="4561383"/>
            <a:ext cx="4899025" cy="323165"/>
          </a:xfrm>
        </p:spPr>
        <p:txBody>
          <a:bodyPr/>
          <a:lstStyle/>
          <a:p>
            <a:r>
              <a:rPr lang="en-GB" dirty="0"/>
              <a:t>Aug 2023</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5" y="3508674"/>
            <a:ext cx="4776786" cy="710964"/>
          </a:xfrm>
        </p:spPr>
        <p:txBody>
          <a:bodyPr/>
          <a:lstStyle/>
          <a:p>
            <a:r>
              <a:rPr lang="en-GB" sz="4800" dirty="0"/>
              <a:t>INS EXPO</a:t>
            </a:r>
          </a:p>
        </p:txBody>
      </p:sp>
      <p:pic>
        <p:nvPicPr>
          <p:cNvPr id="6" name="Picture 5">
            <a:extLst>
              <a:ext uri="{FF2B5EF4-FFF2-40B4-BE49-F238E27FC236}">
                <a16:creationId xmlns:a16="http://schemas.microsoft.com/office/drawing/2014/main" id="{93919490-E65A-17A1-7BEC-B2F30A57D5D4}"/>
              </a:ext>
            </a:extLst>
          </p:cNvPr>
          <p:cNvPicPr>
            <a:picLocks noChangeAspect="1"/>
          </p:cNvPicPr>
          <p:nvPr/>
        </p:nvPicPr>
        <p:blipFill>
          <a:blip r:embed="rId3"/>
          <a:stretch>
            <a:fillRect/>
          </a:stretch>
        </p:blipFill>
        <p:spPr>
          <a:xfrm>
            <a:off x="3196646" y="1589423"/>
            <a:ext cx="12192000" cy="6559473"/>
          </a:xfrm>
          <a:prstGeom prst="rect">
            <a:avLst/>
          </a:prstGeom>
        </p:spPr>
      </p:pic>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12059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bg>
      <p:bgPr>
        <a:solidFill>
          <a:srgbClr val="272936"/>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CFF8D52-9C48-489C-A115-91BD5ACD2F98}"/>
              </a:ext>
            </a:extLst>
          </p:cNvPr>
          <p:cNvSpPr/>
          <p:nvPr/>
        </p:nvSpPr>
        <p:spPr>
          <a:xfrm>
            <a:off x="184940" y="1332565"/>
            <a:ext cx="2239766" cy="119180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A2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Code converter</a:t>
            </a:r>
          </a:p>
        </p:txBody>
      </p:sp>
      <p:sp>
        <p:nvSpPr>
          <p:cNvPr id="15" name="Rectangle: Rounded Corners 14">
            <a:extLst>
              <a:ext uri="{FF2B5EF4-FFF2-40B4-BE49-F238E27FC236}">
                <a16:creationId xmlns:a16="http://schemas.microsoft.com/office/drawing/2014/main" id="{C335512C-9F24-41C8-949C-138B1CD3E698}"/>
              </a:ext>
            </a:extLst>
          </p:cNvPr>
          <p:cNvSpPr/>
          <p:nvPr/>
        </p:nvSpPr>
        <p:spPr>
          <a:xfrm>
            <a:off x="184940" y="2753090"/>
            <a:ext cx="2239766" cy="119180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A2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ETL migration</a:t>
            </a:r>
          </a:p>
        </p:txBody>
      </p:sp>
      <p:sp>
        <p:nvSpPr>
          <p:cNvPr id="17" name="Rectangle: Rounded Corners 16">
            <a:extLst>
              <a:ext uri="{FF2B5EF4-FFF2-40B4-BE49-F238E27FC236}">
                <a16:creationId xmlns:a16="http://schemas.microsoft.com/office/drawing/2014/main" id="{0BE15B00-C228-474A-B89A-AE970BF56579}"/>
              </a:ext>
            </a:extLst>
          </p:cNvPr>
          <p:cNvSpPr/>
          <p:nvPr/>
        </p:nvSpPr>
        <p:spPr>
          <a:xfrm>
            <a:off x="184940" y="4216915"/>
            <a:ext cx="2239766" cy="119180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A2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Reports converter</a:t>
            </a:r>
          </a:p>
        </p:txBody>
      </p:sp>
      <p:cxnSp>
        <p:nvCxnSpPr>
          <p:cNvPr id="5" name="Straight Connector 4">
            <a:extLst>
              <a:ext uri="{FF2B5EF4-FFF2-40B4-BE49-F238E27FC236}">
                <a16:creationId xmlns:a16="http://schemas.microsoft.com/office/drawing/2014/main" id="{4C40EF82-8978-4718-BE84-2FAAB950E4DC}"/>
              </a:ext>
            </a:extLst>
          </p:cNvPr>
          <p:cNvCxnSpPr>
            <a:cxnSpLocks/>
          </p:cNvCxnSpPr>
          <p:nvPr/>
        </p:nvCxnSpPr>
        <p:spPr>
          <a:xfrm>
            <a:off x="184940" y="2632470"/>
            <a:ext cx="11918016"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7873FAC-CFBD-431F-B1F5-A9E6B4CB8BB5}"/>
              </a:ext>
            </a:extLst>
          </p:cNvPr>
          <p:cNvCxnSpPr/>
          <p:nvPr/>
        </p:nvCxnSpPr>
        <p:spPr>
          <a:xfrm>
            <a:off x="195213" y="4138145"/>
            <a:ext cx="11907749"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6D2771F-F3B8-4763-8B34-95149ACF4C64}"/>
              </a:ext>
            </a:extLst>
          </p:cNvPr>
          <p:cNvCxnSpPr>
            <a:cxnSpLocks/>
          </p:cNvCxnSpPr>
          <p:nvPr/>
        </p:nvCxnSpPr>
        <p:spPr>
          <a:xfrm>
            <a:off x="2578815" y="1014417"/>
            <a:ext cx="0" cy="5135268"/>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E6675B7-F118-41C4-9E07-3B0513518E23}"/>
              </a:ext>
            </a:extLst>
          </p:cNvPr>
          <p:cNvSpPr txBox="1"/>
          <p:nvPr/>
        </p:nvSpPr>
        <p:spPr>
          <a:xfrm>
            <a:off x="2640463" y="1357543"/>
            <a:ext cx="4017193"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Converts SAS to Python/Snowflake/Bigquery et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COBOL to Jav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USQL to TSQL</a:t>
            </a:r>
          </a:p>
        </p:txBody>
      </p:sp>
      <p:sp>
        <p:nvSpPr>
          <p:cNvPr id="25" name="TextBox 24">
            <a:extLst>
              <a:ext uri="{FF2B5EF4-FFF2-40B4-BE49-F238E27FC236}">
                <a16:creationId xmlns:a16="http://schemas.microsoft.com/office/drawing/2014/main" id="{56C9EB3C-CD8B-4F4A-A82D-A057738245CB}"/>
              </a:ext>
            </a:extLst>
          </p:cNvPr>
          <p:cNvSpPr txBox="1"/>
          <p:nvPr/>
        </p:nvSpPr>
        <p:spPr>
          <a:xfrm>
            <a:off x="2640462" y="2681727"/>
            <a:ext cx="4017193" cy="14773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Converts Informatica to Snowflak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Convert Informatica to ADF/AD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Informatica to AWS Glu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err="1">
                <a:ln>
                  <a:noFill/>
                </a:ln>
                <a:solidFill>
                  <a:schemeClr val="bg1"/>
                </a:solidFill>
                <a:effectLst/>
                <a:uLnTx/>
                <a:uFillTx/>
                <a:latin typeface="Ubuntu"/>
                <a:ea typeface="+mn-ea"/>
                <a:cs typeface="+mn-cs"/>
              </a:rPr>
              <a:t>Abinitio</a:t>
            </a:r>
            <a:r>
              <a:rPr kumimoji="0" lang="en-IN" sz="1800" b="0" i="0" u="none" strike="noStrike" kern="1200" cap="none" spc="0" normalizeH="0" baseline="0" noProof="0" dirty="0">
                <a:ln>
                  <a:noFill/>
                </a:ln>
                <a:solidFill>
                  <a:schemeClr val="bg1"/>
                </a:solidFill>
                <a:effectLst/>
                <a:uLnTx/>
                <a:uFillTx/>
                <a:latin typeface="Ubuntu"/>
                <a:ea typeface="+mn-ea"/>
                <a:cs typeface="+mn-cs"/>
              </a:rPr>
              <a:t> to PySpark</a:t>
            </a:r>
          </a:p>
        </p:txBody>
      </p:sp>
      <p:sp>
        <p:nvSpPr>
          <p:cNvPr id="26" name="TextBox 25">
            <a:extLst>
              <a:ext uri="{FF2B5EF4-FFF2-40B4-BE49-F238E27FC236}">
                <a16:creationId xmlns:a16="http://schemas.microsoft.com/office/drawing/2014/main" id="{4346E778-0B2D-4A9B-ABFE-C3814007D016}"/>
              </a:ext>
            </a:extLst>
          </p:cNvPr>
          <p:cNvSpPr txBox="1"/>
          <p:nvPr/>
        </p:nvSpPr>
        <p:spPr>
          <a:xfrm>
            <a:off x="2653049" y="4289306"/>
            <a:ext cx="4017193"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Converts Cognos to PowerB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Converts Tableau to PowerB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Converts </a:t>
            </a:r>
            <a:r>
              <a:rPr kumimoji="0" lang="en-IN" sz="1800" b="0" i="0" u="none" strike="noStrike" kern="1200" cap="none" spc="0" normalizeH="0" baseline="0" noProof="0" dirty="0" err="1">
                <a:ln>
                  <a:noFill/>
                </a:ln>
                <a:solidFill>
                  <a:schemeClr val="bg1"/>
                </a:solidFill>
                <a:effectLst/>
                <a:uLnTx/>
                <a:uFillTx/>
                <a:latin typeface="Ubuntu"/>
                <a:ea typeface="+mn-ea"/>
                <a:cs typeface="+mn-cs"/>
              </a:rPr>
              <a:t>Microstrategy</a:t>
            </a:r>
            <a:r>
              <a:rPr kumimoji="0" lang="en-IN" sz="1800" b="0" i="0" u="none" strike="noStrike" kern="1200" cap="none" spc="0" normalizeH="0" baseline="0" noProof="0" dirty="0">
                <a:ln>
                  <a:noFill/>
                </a:ln>
                <a:solidFill>
                  <a:schemeClr val="bg1"/>
                </a:solidFill>
                <a:effectLst/>
                <a:uLnTx/>
                <a:uFillTx/>
                <a:latin typeface="Ubuntu"/>
                <a:ea typeface="+mn-ea"/>
                <a:cs typeface="+mn-cs"/>
              </a:rPr>
              <a:t> to PowerBI</a:t>
            </a:r>
          </a:p>
        </p:txBody>
      </p:sp>
      <p:sp>
        <p:nvSpPr>
          <p:cNvPr id="21" name="TextBox 20">
            <a:extLst>
              <a:ext uri="{FF2B5EF4-FFF2-40B4-BE49-F238E27FC236}">
                <a16:creationId xmlns:a16="http://schemas.microsoft.com/office/drawing/2014/main" id="{918854B7-B6DF-4B78-A146-4407A2547AA9}"/>
              </a:ext>
            </a:extLst>
          </p:cNvPr>
          <p:cNvSpPr txBox="1"/>
          <p:nvPr/>
        </p:nvSpPr>
        <p:spPr>
          <a:xfrm>
            <a:off x="6653939" y="1432141"/>
            <a:ext cx="3448691"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Korn shell scripts to Pyth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C# to Pyth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FORTRAN to Pyth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PL/SQL to SNOW SQL</a:t>
            </a:r>
          </a:p>
        </p:txBody>
      </p:sp>
      <p:sp>
        <p:nvSpPr>
          <p:cNvPr id="28" name="TextBox 27">
            <a:extLst>
              <a:ext uri="{FF2B5EF4-FFF2-40B4-BE49-F238E27FC236}">
                <a16:creationId xmlns:a16="http://schemas.microsoft.com/office/drawing/2014/main" id="{D26DA2AC-FE15-40F9-9E9B-544270F40A72}"/>
              </a:ext>
            </a:extLst>
          </p:cNvPr>
          <p:cNvSpPr txBox="1"/>
          <p:nvPr/>
        </p:nvSpPr>
        <p:spPr>
          <a:xfrm>
            <a:off x="6642251" y="2966670"/>
            <a:ext cx="3195262" cy="36933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DataStage to ADF/ADB</a:t>
            </a:r>
          </a:p>
        </p:txBody>
      </p:sp>
      <p:sp>
        <p:nvSpPr>
          <p:cNvPr id="29" name="TextBox 28">
            <a:extLst>
              <a:ext uri="{FF2B5EF4-FFF2-40B4-BE49-F238E27FC236}">
                <a16:creationId xmlns:a16="http://schemas.microsoft.com/office/drawing/2014/main" id="{46F0A7C9-7574-4BA7-9D1D-EF7FF473089F}"/>
              </a:ext>
            </a:extLst>
          </p:cNvPr>
          <p:cNvSpPr txBox="1"/>
          <p:nvPr/>
        </p:nvSpPr>
        <p:spPr>
          <a:xfrm>
            <a:off x="6642250" y="4331399"/>
            <a:ext cx="4017193" cy="36933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Converts Qlik to PowerBI</a:t>
            </a:r>
          </a:p>
        </p:txBody>
      </p:sp>
      <p:sp>
        <p:nvSpPr>
          <p:cNvPr id="22" name="TextBox 21">
            <a:extLst>
              <a:ext uri="{FF2B5EF4-FFF2-40B4-BE49-F238E27FC236}">
                <a16:creationId xmlns:a16="http://schemas.microsoft.com/office/drawing/2014/main" id="{8251DA8F-ED81-46B2-AFC3-3AEC74B49DB3}"/>
              </a:ext>
            </a:extLst>
          </p:cNvPr>
          <p:cNvSpPr txBox="1"/>
          <p:nvPr/>
        </p:nvSpPr>
        <p:spPr>
          <a:xfrm>
            <a:off x="10002386" y="1440536"/>
            <a:ext cx="2100573"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Multiple banks and insurance customers</a:t>
            </a:r>
          </a:p>
        </p:txBody>
      </p:sp>
      <p:sp>
        <p:nvSpPr>
          <p:cNvPr id="3" name="Rectangle: Rounded Corners 2">
            <a:extLst>
              <a:ext uri="{FF2B5EF4-FFF2-40B4-BE49-F238E27FC236}">
                <a16:creationId xmlns:a16="http://schemas.microsoft.com/office/drawing/2014/main" id="{F78BE386-FDE6-4860-8E4A-E8C3CB63A0EE}"/>
              </a:ext>
            </a:extLst>
          </p:cNvPr>
          <p:cNvSpPr/>
          <p:nvPr/>
        </p:nvSpPr>
        <p:spPr>
          <a:xfrm>
            <a:off x="2732925" y="618313"/>
            <a:ext cx="3602816" cy="66157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Existing</a:t>
            </a:r>
          </a:p>
        </p:txBody>
      </p:sp>
      <p:sp>
        <p:nvSpPr>
          <p:cNvPr id="27" name="Rectangle: Rounded Corners 26">
            <a:extLst>
              <a:ext uri="{FF2B5EF4-FFF2-40B4-BE49-F238E27FC236}">
                <a16:creationId xmlns:a16="http://schemas.microsoft.com/office/drawing/2014/main" id="{5CB8BEC3-67AC-456B-A95E-99857A89D1B2}"/>
              </a:ext>
            </a:extLst>
          </p:cNvPr>
          <p:cNvSpPr/>
          <p:nvPr/>
        </p:nvSpPr>
        <p:spPr>
          <a:xfrm>
            <a:off x="6709906" y="618313"/>
            <a:ext cx="2971794" cy="66157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In pipeline</a:t>
            </a:r>
          </a:p>
        </p:txBody>
      </p:sp>
      <p:sp>
        <p:nvSpPr>
          <p:cNvPr id="31" name="Rectangle: Rounded Corners 30">
            <a:extLst>
              <a:ext uri="{FF2B5EF4-FFF2-40B4-BE49-F238E27FC236}">
                <a16:creationId xmlns:a16="http://schemas.microsoft.com/office/drawing/2014/main" id="{2ECE8DE1-A6A0-4145-A40A-275C7D10F09E}"/>
              </a:ext>
            </a:extLst>
          </p:cNvPr>
          <p:cNvSpPr/>
          <p:nvPr/>
        </p:nvSpPr>
        <p:spPr>
          <a:xfrm>
            <a:off x="10116625" y="605945"/>
            <a:ext cx="1832218" cy="66157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Customers</a:t>
            </a:r>
          </a:p>
        </p:txBody>
      </p:sp>
      <p:sp>
        <p:nvSpPr>
          <p:cNvPr id="32" name="TextBox 31">
            <a:extLst>
              <a:ext uri="{FF2B5EF4-FFF2-40B4-BE49-F238E27FC236}">
                <a16:creationId xmlns:a16="http://schemas.microsoft.com/office/drawing/2014/main" id="{5A8BFF16-65D2-4A0F-99F3-CA014C0E0324}"/>
              </a:ext>
            </a:extLst>
          </p:cNvPr>
          <p:cNvSpPr txBox="1"/>
          <p:nvPr/>
        </p:nvSpPr>
        <p:spPr>
          <a:xfrm>
            <a:off x="9993938" y="2863519"/>
            <a:ext cx="2035398"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Multiple banks and insurance customers</a:t>
            </a:r>
          </a:p>
        </p:txBody>
      </p:sp>
      <p:sp>
        <p:nvSpPr>
          <p:cNvPr id="34" name="TextBox 33">
            <a:extLst>
              <a:ext uri="{FF2B5EF4-FFF2-40B4-BE49-F238E27FC236}">
                <a16:creationId xmlns:a16="http://schemas.microsoft.com/office/drawing/2014/main" id="{D389322F-09FB-44EA-99B8-6394E3CD9D4F}"/>
              </a:ext>
            </a:extLst>
          </p:cNvPr>
          <p:cNvSpPr txBox="1"/>
          <p:nvPr/>
        </p:nvSpPr>
        <p:spPr>
          <a:xfrm>
            <a:off x="10003567" y="4228552"/>
            <a:ext cx="2099389"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Leading Australian power sector customer</a:t>
            </a:r>
          </a:p>
        </p:txBody>
      </p:sp>
      <p:cxnSp>
        <p:nvCxnSpPr>
          <p:cNvPr id="24" name="Straight Connector 23">
            <a:extLst>
              <a:ext uri="{FF2B5EF4-FFF2-40B4-BE49-F238E27FC236}">
                <a16:creationId xmlns:a16="http://schemas.microsoft.com/office/drawing/2014/main" id="{A0753A15-849B-4169-A43A-480EE8E011F5}"/>
              </a:ext>
            </a:extLst>
          </p:cNvPr>
          <p:cNvCxnSpPr/>
          <p:nvPr/>
        </p:nvCxnSpPr>
        <p:spPr>
          <a:xfrm>
            <a:off x="195213" y="5552679"/>
            <a:ext cx="11907749"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014738F1-862B-45B6-BB70-464B967F08C2}"/>
              </a:ext>
            </a:extLst>
          </p:cNvPr>
          <p:cNvSpPr/>
          <p:nvPr/>
        </p:nvSpPr>
        <p:spPr>
          <a:xfrm>
            <a:off x="195818" y="5621145"/>
            <a:ext cx="2239766" cy="119180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A2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Test automation</a:t>
            </a:r>
          </a:p>
        </p:txBody>
      </p:sp>
      <p:cxnSp>
        <p:nvCxnSpPr>
          <p:cNvPr id="35" name="Straight Connector 34">
            <a:extLst>
              <a:ext uri="{FF2B5EF4-FFF2-40B4-BE49-F238E27FC236}">
                <a16:creationId xmlns:a16="http://schemas.microsoft.com/office/drawing/2014/main" id="{734435E4-21A2-48B4-84DE-7C2EE32320D1}"/>
              </a:ext>
            </a:extLst>
          </p:cNvPr>
          <p:cNvCxnSpPr>
            <a:cxnSpLocks/>
          </p:cNvCxnSpPr>
          <p:nvPr/>
        </p:nvCxnSpPr>
        <p:spPr>
          <a:xfrm>
            <a:off x="2578815" y="1741539"/>
            <a:ext cx="0" cy="5135268"/>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0342BEA-CBC2-4EA9-9598-992A65D05E29}"/>
              </a:ext>
            </a:extLst>
          </p:cNvPr>
          <p:cNvCxnSpPr>
            <a:cxnSpLocks/>
          </p:cNvCxnSpPr>
          <p:nvPr/>
        </p:nvCxnSpPr>
        <p:spPr>
          <a:xfrm>
            <a:off x="6575463" y="1014417"/>
            <a:ext cx="0" cy="5843583"/>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0479A10-A51F-4D6B-922A-E335F2DADBC3}"/>
              </a:ext>
            </a:extLst>
          </p:cNvPr>
          <p:cNvCxnSpPr>
            <a:cxnSpLocks/>
          </p:cNvCxnSpPr>
          <p:nvPr/>
        </p:nvCxnSpPr>
        <p:spPr>
          <a:xfrm>
            <a:off x="9911746" y="1023596"/>
            <a:ext cx="0" cy="5843583"/>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6C6C959F-AB6D-44CF-A689-DC3B4F1DBA49}"/>
              </a:ext>
            </a:extLst>
          </p:cNvPr>
          <p:cNvSpPr txBox="1"/>
          <p:nvPr/>
        </p:nvSpPr>
        <p:spPr>
          <a:xfrm>
            <a:off x="2640462" y="5670402"/>
            <a:ext cx="4017193"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Generates unit test cases for Java and Pyth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Generates test data</a:t>
            </a:r>
          </a:p>
        </p:txBody>
      </p:sp>
      <p:sp>
        <p:nvSpPr>
          <p:cNvPr id="41" name="TextBox 40">
            <a:extLst>
              <a:ext uri="{FF2B5EF4-FFF2-40B4-BE49-F238E27FC236}">
                <a16:creationId xmlns:a16="http://schemas.microsoft.com/office/drawing/2014/main" id="{9FAA9C55-C719-4E7F-A016-17223AF39B3E}"/>
              </a:ext>
            </a:extLst>
          </p:cNvPr>
          <p:cNvSpPr txBox="1"/>
          <p:nvPr/>
        </p:nvSpPr>
        <p:spPr>
          <a:xfrm>
            <a:off x="6657655" y="5703749"/>
            <a:ext cx="4017193" cy="36933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err="1">
                <a:ln>
                  <a:noFill/>
                </a:ln>
                <a:solidFill>
                  <a:schemeClr val="bg1"/>
                </a:solidFill>
                <a:effectLst/>
                <a:uLnTx/>
                <a:uFillTx/>
                <a:latin typeface="Ubuntu"/>
                <a:ea typeface="+mn-ea"/>
                <a:cs typeface="+mn-cs"/>
              </a:rPr>
              <a:t>Selinium</a:t>
            </a:r>
            <a:endParaRPr kumimoji="0" lang="en-IN" sz="1800" b="0" i="0" u="none" strike="noStrike" kern="1200" cap="none" spc="0" normalizeH="0" baseline="0" noProof="0" dirty="0">
              <a:ln>
                <a:noFill/>
              </a:ln>
              <a:solidFill>
                <a:schemeClr val="bg1"/>
              </a:solidFill>
              <a:effectLst/>
              <a:uLnTx/>
              <a:uFillTx/>
              <a:latin typeface="Ubuntu"/>
              <a:ea typeface="+mn-ea"/>
              <a:cs typeface="+mn-cs"/>
            </a:endParaRPr>
          </a:p>
        </p:txBody>
      </p:sp>
      <p:sp>
        <p:nvSpPr>
          <p:cNvPr id="42" name="TextBox 41">
            <a:extLst>
              <a:ext uri="{FF2B5EF4-FFF2-40B4-BE49-F238E27FC236}">
                <a16:creationId xmlns:a16="http://schemas.microsoft.com/office/drawing/2014/main" id="{D3962F5D-B2C4-43CD-849C-92907BAF7139}"/>
              </a:ext>
            </a:extLst>
          </p:cNvPr>
          <p:cNvSpPr txBox="1"/>
          <p:nvPr/>
        </p:nvSpPr>
        <p:spPr>
          <a:xfrm>
            <a:off x="10015035" y="5653599"/>
            <a:ext cx="2109016"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Yet to implement with customer</a:t>
            </a:r>
          </a:p>
        </p:txBody>
      </p:sp>
      <p:sp>
        <p:nvSpPr>
          <p:cNvPr id="4" name="Title 1">
            <a:extLst>
              <a:ext uri="{FF2B5EF4-FFF2-40B4-BE49-F238E27FC236}">
                <a16:creationId xmlns:a16="http://schemas.microsoft.com/office/drawing/2014/main" id="{AD4F9423-3719-B6DF-2340-5F92A2245D4D}"/>
              </a:ext>
            </a:extLst>
          </p:cNvPr>
          <p:cNvSpPr txBox="1">
            <a:spLocks/>
          </p:cNvSpPr>
          <p:nvPr/>
        </p:nvSpPr>
        <p:spPr>
          <a:xfrm>
            <a:off x="299094" y="176921"/>
            <a:ext cx="10562775" cy="492807"/>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b="1" dirty="0">
                <a:solidFill>
                  <a:schemeClr val="bg1"/>
                </a:solidFill>
                <a:latin typeface="Ubuntu" panose="020B0504030602030204" pitchFamily="34" charset="0"/>
              </a:rPr>
              <a:t>A2B – Generative AI</a:t>
            </a:r>
          </a:p>
        </p:txBody>
      </p:sp>
    </p:spTree>
    <p:extLst>
      <p:ext uri="{BB962C8B-B14F-4D97-AF65-F5344CB8AC3E}">
        <p14:creationId xmlns:p14="http://schemas.microsoft.com/office/powerpoint/2010/main" val="39528452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useBgFill="1">
        <p:nvSpPr>
          <p:cNvPr id="36" name="Rectangle 35">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1542EED3-C678-2038-C318-3CD3D1936DEA}"/>
              </a:ext>
            </a:extLst>
          </p:cNvPr>
          <p:cNvPicPr>
            <a:picLocks noChangeAspect="1"/>
          </p:cNvPicPr>
          <p:nvPr/>
        </p:nvPicPr>
        <p:blipFill rotWithShape="1">
          <a:blip r:embed="rId3">
            <a:extLst>
              <a:ext uri="{28A0092B-C50C-407E-A947-70E740481C1C}">
                <a14:useLocalDpi xmlns:a14="http://schemas.microsoft.com/office/drawing/2010/main" val="0"/>
              </a:ext>
            </a:extLst>
          </a:blip>
          <a:srcRect t="1452" r="1" b="346"/>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3" name="Title 1">
            <a:extLst>
              <a:ext uri="{FF2B5EF4-FFF2-40B4-BE49-F238E27FC236}">
                <a16:creationId xmlns:a16="http://schemas.microsoft.com/office/drawing/2014/main" id="{64554663-327A-078B-1961-36435051B5E2}"/>
              </a:ext>
            </a:extLst>
          </p:cNvPr>
          <p:cNvSpPr txBox="1">
            <a:spLocks/>
          </p:cNvSpPr>
          <p:nvPr/>
        </p:nvSpPr>
        <p:spPr>
          <a:xfrm>
            <a:off x="299094" y="176921"/>
            <a:ext cx="10562775" cy="492807"/>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b="1" dirty="0">
                <a:solidFill>
                  <a:schemeClr val="bg1"/>
                </a:solidFill>
                <a:latin typeface="Ubuntu" panose="020B0504030602030204" pitchFamily="34" charset="0"/>
              </a:rPr>
              <a:t>Functionality &amp; Features</a:t>
            </a:r>
          </a:p>
        </p:txBody>
      </p:sp>
      <p:pic>
        <p:nvPicPr>
          <p:cNvPr id="4" name="Picture 3">
            <a:extLst>
              <a:ext uri="{FF2B5EF4-FFF2-40B4-BE49-F238E27FC236}">
                <a16:creationId xmlns:a16="http://schemas.microsoft.com/office/drawing/2014/main" id="{64647AC1-72CC-701B-2CED-F29A4514EAC3}"/>
              </a:ext>
            </a:extLst>
          </p:cNvPr>
          <p:cNvPicPr>
            <a:picLocks noChangeAspect="1"/>
          </p:cNvPicPr>
          <p:nvPr/>
        </p:nvPicPr>
        <p:blipFill rotWithShape="1">
          <a:blip r:embed="rId3">
            <a:extLst>
              <a:ext uri="{28A0092B-C50C-407E-A947-70E740481C1C}">
                <a14:useLocalDpi xmlns:a14="http://schemas.microsoft.com/office/drawing/2010/main" val="0"/>
              </a:ext>
            </a:extLst>
          </a:blip>
          <a:srcRect t="1452" r="1" b="346"/>
          <a:stretch/>
        </p:blipFill>
        <p:spPr>
          <a:xfrm>
            <a:off x="5313225"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grpSp>
        <p:nvGrpSpPr>
          <p:cNvPr id="9" name="Group 8">
            <a:extLst>
              <a:ext uri="{FF2B5EF4-FFF2-40B4-BE49-F238E27FC236}">
                <a16:creationId xmlns:a16="http://schemas.microsoft.com/office/drawing/2014/main" id="{AFA12110-E989-AAAF-F8B5-B63163F24AE8}"/>
              </a:ext>
            </a:extLst>
          </p:cNvPr>
          <p:cNvGrpSpPr/>
          <p:nvPr/>
        </p:nvGrpSpPr>
        <p:grpSpPr>
          <a:xfrm>
            <a:off x="212047" y="1187669"/>
            <a:ext cx="4671622" cy="5005898"/>
            <a:chOff x="212047" y="1187669"/>
            <a:chExt cx="4671622" cy="5005898"/>
          </a:xfrm>
        </p:grpSpPr>
        <p:sp>
          <p:nvSpPr>
            <p:cNvPr id="8" name="TextBox 7">
              <a:extLst>
                <a:ext uri="{FF2B5EF4-FFF2-40B4-BE49-F238E27FC236}">
                  <a16:creationId xmlns:a16="http://schemas.microsoft.com/office/drawing/2014/main" id="{0BB2360E-77DB-9151-2020-BDD0AFCEF593}"/>
                </a:ext>
              </a:extLst>
            </p:cNvPr>
            <p:cNvSpPr txBox="1"/>
            <p:nvPr/>
          </p:nvSpPr>
          <p:spPr>
            <a:xfrm>
              <a:off x="640080" y="1187669"/>
              <a:ext cx="4243589" cy="5005898"/>
            </a:xfrm>
            <a:prstGeom prst="rect">
              <a:avLst/>
            </a:prstGeom>
          </p:spPr>
          <p:txBody>
            <a:bodyPr vert="horz" lIns="91440" tIns="45720" rIns="91440" bIns="45720" rtlCol="0">
              <a:normAutofit/>
            </a:bodyPr>
            <a:lstStyle/>
            <a:p>
              <a:pPr marL="342900" indent="-228600">
                <a:lnSpc>
                  <a:spcPct val="90000"/>
                </a:lnSpc>
                <a:spcAft>
                  <a:spcPts val="600"/>
                </a:spcAft>
                <a:buFont typeface="Arial" panose="020B0604020202020204" pitchFamily="34" charset="0"/>
                <a:buChar char="•"/>
              </a:pPr>
              <a:r>
                <a:rPr lang="en-US" sz="2000" i="0" dirty="0">
                  <a:solidFill>
                    <a:schemeClr val="bg1"/>
                  </a:solidFill>
                  <a:effectLst/>
                  <a:latin typeface="Ubuntu" panose="020B0504030602030204" pitchFamily="34" charset="0"/>
                </a:rPr>
                <a:t>A2B helps reduce costs and simplify processes by consolidating to a single platform</a:t>
              </a:r>
            </a:p>
            <a:p>
              <a:pPr indent="-228600">
                <a:lnSpc>
                  <a:spcPct val="90000"/>
                </a:lnSpc>
                <a:spcAft>
                  <a:spcPts val="600"/>
                </a:spcAft>
                <a:buFont typeface="Arial" panose="020B0604020202020204" pitchFamily="34" charset="0"/>
                <a:buChar char="•"/>
              </a:pPr>
              <a:endParaRPr lang="en-US" sz="2000" i="0" dirty="0">
                <a:solidFill>
                  <a:schemeClr val="bg1"/>
                </a:solidFill>
                <a:effectLst/>
                <a:latin typeface="Ubuntu" panose="020B0504030602030204" pitchFamily="34" charset="0"/>
              </a:endParaRPr>
            </a:p>
            <a:p>
              <a:pPr marL="342900" indent="-228600">
                <a:lnSpc>
                  <a:spcPct val="90000"/>
                </a:lnSpc>
                <a:spcAft>
                  <a:spcPts val="600"/>
                </a:spcAft>
                <a:buFont typeface="Arial" panose="020B0604020202020204" pitchFamily="34" charset="0"/>
                <a:buChar char="•"/>
              </a:pPr>
              <a:r>
                <a:rPr lang="en-US" sz="2000" i="0" dirty="0">
                  <a:solidFill>
                    <a:schemeClr val="bg1"/>
                  </a:solidFill>
                  <a:effectLst/>
                  <a:latin typeface="Ubuntu" panose="020B0504030602030204" pitchFamily="34" charset="0"/>
                </a:rPr>
                <a:t>A2B can help businesses streamline their operations and increase innovation, giving them a competitive edge in today's fast-paced market</a:t>
              </a:r>
            </a:p>
            <a:p>
              <a:pPr indent="-228600">
                <a:lnSpc>
                  <a:spcPct val="90000"/>
                </a:lnSpc>
                <a:spcAft>
                  <a:spcPts val="600"/>
                </a:spcAft>
                <a:buFont typeface="Arial" panose="020B0604020202020204" pitchFamily="34" charset="0"/>
                <a:buChar char="•"/>
              </a:pPr>
              <a:endParaRPr lang="en-US" sz="2000" i="0" dirty="0">
                <a:solidFill>
                  <a:schemeClr val="bg1"/>
                </a:solidFill>
                <a:effectLst/>
                <a:latin typeface="Ubuntu" panose="020B0504030602030204" pitchFamily="34" charset="0"/>
              </a:endParaRPr>
            </a:p>
            <a:p>
              <a:pPr marL="342900" indent="-228600">
                <a:lnSpc>
                  <a:spcPct val="90000"/>
                </a:lnSpc>
                <a:spcAft>
                  <a:spcPts val="600"/>
                </a:spcAft>
                <a:buFont typeface="Arial" panose="020B0604020202020204" pitchFamily="34" charset="0"/>
                <a:buChar char="•"/>
              </a:pPr>
              <a:r>
                <a:rPr lang="en-US" sz="2000" i="0" dirty="0">
                  <a:solidFill>
                    <a:schemeClr val="bg1"/>
                  </a:solidFill>
                  <a:effectLst/>
                  <a:latin typeface="Ubuntu" panose="020B0504030602030204" pitchFamily="34" charset="0"/>
                </a:rPr>
                <a:t>Transition using A2B sets the stage for a more adaptable and sustainable enterprise in the future.</a:t>
              </a:r>
              <a:endParaRPr lang="en-US" sz="2000" dirty="0">
                <a:solidFill>
                  <a:schemeClr val="bg1"/>
                </a:solidFill>
                <a:latin typeface="Ubuntu" panose="020B0504030602030204" pitchFamily="34" charset="0"/>
              </a:endParaRPr>
            </a:p>
          </p:txBody>
        </p:sp>
        <p:pic>
          <p:nvPicPr>
            <p:cNvPr id="6" name="Picture 5">
              <a:extLst>
                <a:ext uri="{FF2B5EF4-FFF2-40B4-BE49-F238E27FC236}">
                  <a16:creationId xmlns:a16="http://schemas.microsoft.com/office/drawing/2014/main" id="{30BEE57E-293A-1FF8-C31C-8EC6183151C4}"/>
                </a:ext>
              </a:extLst>
            </p:cNvPr>
            <p:cNvPicPr>
              <a:picLocks noChangeAspect="1"/>
            </p:cNvPicPr>
            <p:nvPr/>
          </p:nvPicPr>
          <p:blipFill>
            <a:blip r:embed="rId4"/>
            <a:stretch>
              <a:fillRect/>
            </a:stretch>
          </p:blipFill>
          <p:spPr>
            <a:xfrm>
              <a:off x="212047" y="2447966"/>
              <a:ext cx="4444036" cy="326765"/>
            </a:xfrm>
            <a:prstGeom prst="rect">
              <a:avLst/>
            </a:prstGeom>
          </p:spPr>
        </p:pic>
      </p:grpSp>
    </p:spTree>
    <p:extLst>
      <p:ext uri="{BB962C8B-B14F-4D97-AF65-F5344CB8AC3E}">
        <p14:creationId xmlns:p14="http://schemas.microsoft.com/office/powerpoint/2010/main" val="14724999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CFF8D52-9C48-489C-A115-91BD5ACD2F98}"/>
              </a:ext>
            </a:extLst>
          </p:cNvPr>
          <p:cNvSpPr/>
          <p:nvPr/>
        </p:nvSpPr>
        <p:spPr>
          <a:xfrm>
            <a:off x="253551" y="1378915"/>
            <a:ext cx="1706918" cy="84283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A2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Code converter</a:t>
            </a:r>
          </a:p>
        </p:txBody>
      </p:sp>
      <p:sp>
        <p:nvSpPr>
          <p:cNvPr id="15" name="Rectangle: Rounded Corners 14">
            <a:extLst>
              <a:ext uri="{FF2B5EF4-FFF2-40B4-BE49-F238E27FC236}">
                <a16:creationId xmlns:a16="http://schemas.microsoft.com/office/drawing/2014/main" id="{C335512C-9F24-41C8-949C-138B1CD3E698}"/>
              </a:ext>
            </a:extLst>
          </p:cNvPr>
          <p:cNvSpPr/>
          <p:nvPr/>
        </p:nvSpPr>
        <p:spPr>
          <a:xfrm>
            <a:off x="264509" y="2717816"/>
            <a:ext cx="1706912" cy="83684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A2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ETL migration</a:t>
            </a:r>
          </a:p>
        </p:txBody>
      </p:sp>
      <p:sp>
        <p:nvSpPr>
          <p:cNvPr id="17" name="Rectangle: Rounded Corners 16">
            <a:extLst>
              <a:ext uri="{FF2B5EF4-FFF2-40B4-BE49-F238E27FC236}">
                <a16:creationId xmlns:a16="http://schemas.microsoft.com/office/drawing/2014/main" id="{0BE15B00-C228-474A-B89A-AE970BF56579}"/>
              </a:ext>
            </a:extLst>
          </p:cNvPr>
          <p:cNvSpPr/>
          <p:nvPr/>
        </p:nvSpPr>
        <p:spPr>
          <a:xfrm>
            <a:off x="264509" y="4127500"/>
            <a:ext cx="1706902" cy="77317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A2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Reports converter</a:t>
            </a:r>
          </a:p>
        </p:txBody>
      </p:sp>
      <p:cxnSp>
        <p:nvCxnSpPr>
          <p:cNvPr id="5" name="Straight Connector 4">
            <a:extLst>
              <a:ext uri="{FF2B5EF4-FFF2-40B4-BE49-F238E27FC236}">
                <a16:creationId xmlns:a16="http://schemas.microsoft.com/office/drawing/2014/main" id="{4C40EF82-8978-4718-BE84-2FAAB950E4DC}"/>
              </a:ext>
            </a:extLst>
          </p:cNvPr>
          <p:cNvCxnSpPr>
            <a:cxnSpLocks/>
          </p:cNvCxnSpPr>
          <p:nvPr/>
        </p:nvCxnSpPr>
        <p:spPr>
          <a:xfrm>
            <a:off x="184946" y="2451877"/>
            <a:ext cx="11918016"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7873FAC-CFBD-431F-B1F5-A9E6B4CB8BB5}"/>
              </a:ext>
            </a:extLst>
          </p:cNvPr>
          <p:cNvCxnSpPr/>
          <p:nvPr/>
        </p:nvCxnSpPr>
        <p:spPr>
          <a:xfrm>
            <a:off x="195213" y="3808664"/>
            <a:ext cx="11907749"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6D2771F-F3B8-4763-8B34-95149ACF4C64}"/>
              </a:ext>
            </a:extLst>
          </p:cNvPr>
          <p:cNvCxnSpPr>
            <a:cxnSpLocks/>
          </p:cNvCxnSpPr>
          <p:nvPr/>
        </p:nvCxnSpPr>
        <p:spPr>
          <a:xfrm>
            <a:off x="2170922" y="900955"/>
            <a:ext cx="0" cy="5570136"/>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E6675B7-F118-41C4-9E07-3B0513518E23}"/>
              </a:ext>
            </a:extLst>
          </p:cNvPr>
          <p:cNvSpPr txBox="1"/>
          <p:nvPr/>
        </p:nvSpPr>
        <p:spPr>
          <a:xfrm>
            <a:off x="2282450" y="1358887"/>
            <a:ext cx="3466970"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Converts SAS to Python/Snowflake/Bigquery et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COBOL to Jav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USQL to TSQL</a:t>
            </a:r>
          </a:p>
        </p:txBody>
      </p:sp>
      <p:sp>
        <p:nvSpPr>
          <p:cNvPr id="25" name="TextBox 24">
            <a:extLst>
              <a:ext uri="{FF2B5EF4-FFF2-40B4-BE49-F238E27FC236}">
                <a16:creationId xmlns:a16="http://schemas.microsoft.com/office/drawing/2014/main" id="{56C9EB3C-CD8B-4F4A-A82D-A057738245CB}"/>
              </a:ext>
            </a:extLst>
          </p:cNvPr>
          <p:cNvSpPr txBox="1"/>
          <p:nvPr/>
        </p:nvSpPr>
        <p:spPr>
          <a:xfrm>
            <a:off x="2289150" y="2462469"/>
            <a:ext cx="3566060" cy="132343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Converts Informatica to Snowflak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Convert Informatica to ADF/AD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Informatica to AWS Glu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err="1">
                <a:ln>
                  <a:noFill/>
                </a:ln>
                <a:solidFill>
                  <a:schemeClr val="bg1"/>
                </a:solidFill>
                <a:effectLst/>
                <a:uLnTx/>
                <a:uFillTx/>
                <a:latin typeface="Ubuntu"/>
                <a:ea typeface="+mn-ea"/>
                <a:cs typeface="+mn-cs"/>
              </a:rPr>
              <a:t>Abinitio</a:t>
            </a:r>
            <a:r>
              <a:rPr kumimoji="0" lang="en-IN" sz="1600" b="0" i="0" u="none" strike="noStrike" kern="1200" cap="none" spc="0" normalizeH="0" baseline="0" noProof="0" dirty="0">
                <a:ln>
                  <a:noFill/>
                </a:ln>
                <a:solidFill>
                  <a:schemeClr val="bg1"/>
                </a:solidFill>
                <a:effectLst/>
                <a:uLnTx/>
                <a:uFillTx/>
                <a:latin typeface="Ubuntu"/>
                <a:ea typeface="+mn-ea"/>
                <a:cs typeface="+mn-cs"/>
              </a:rPr>
              <a:t> to PySpark</a:t>
            </a:r>
          </a:p>
        </p:txBody>
      </p:sp>
      <p:sp>
        <p:nvSpPr>
          <p:cNvPr id="26" name="TextBox 25">
            <a:extLst>
              <a:ext uri="{FF2B5EF4-FFF2-40B4-BE49-F238E27FC236}">
                <a16:creationId xmlns:a16="http://schemas.microsoft.com/office/drawing/2014/main" id="{4346E778-0B2D-4A9B-ABFE-C3814007D016}"/>
              </a:ext>
            </a:extLst>
          </p:cNvPr>
          <p:cNvSpPr txBox="1"/>
          <p:nvPr/>
        </p:nvSpPr>
        <p:spPr>
          <a:xfrm>
            <a:off x="2282794" y="4083796"/>
            <a:ext cx="3338380"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Converts Cognos to PowerB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Converts Tableau to PowerB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Converts </a:t>
            </a:r>
            <a:r>
              <a:rPr kumimoji="0" lang="en-IN" sz="1600" b="0" i="0" u="none" strike="noStrike" kern="1200" cap="none" spc="0" normalizeH="0" baseline="0" noProof="0" dirty="0" err="1">
                <a:ln>
                  <a:noFill/>
                </a:ln>
                <a:solidFill>
                  <a:schemeClr val="bg1"/>
                </a:solidFill>
                <a:effectLst/>
                <a:uLnTx/>
                <a:uFillTx/>
                <a:latin typeface="Ubuntu"/>
                <a:ea typeface="+mn-ea"/>
                <a:cs typeface="+mn-cs"/>
              </a:rPr>
              <a:t>Microstrategy</a:t>
            </a:r>
            <a:r>
              <a:rPr kumimoji="0" lang="en-IN" sz="1600" b="0" i="0" u="none" strike="noStrike" kern="1200" cap="none" spc="0" normalizeH="0" baseline="0" noProof="0" dirty="0">
                <a:ln>
                  <a:noFill/>
                </a:ln>
                <a:solidFill>
                  <a:schemeClr val="bg1"/>
                </a:solidFill>
                <a:effectLst/>
                <a:uLnTx/>
                <a:uFillTx/>
                <a:latin typeface="Ubuntu"/>
                <a:ea typeface="+mn-ea"/>
                <a:cs typeface="+mn-cs"/>
              </a:rPr>
              <a:t> to PowerBI</a:t>
            </a:r>
          </a:p>
        </p:txBody>
      </p:sp>
      <p:sp>
        <p:nvSpPr>
          <p:cNvPr id="21" name="TextBox 20">
            <a:extLst>
              <a:ext uri="{FF2B5EF4-FFF2-40B4-BE49-F238E27FC236}">
                <a16:creationId xmlns:a16="http://schemas.microsoft.com/office/drawing/2014/main" id="{918854B7-B6DF-4B78-A146-4407A2547AA9}"/>
              </a:ext>
            </a:extLst>
          </p:cNvPr>
          <p:cNvSpPr txBox="1"/>
          <p:nvPr/>
        </p:nvSpPr>
        <p:spPr>
          <a:xfrm>
            <a:off x="5945570" y="1339897"/>
            <a:ext cx="3223446"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Korn shell scripts to Pyth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C# to Pyth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FORTRAN to Pyth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PL/SQL to SNOW SQL</a:t>
            </a:r>
          </a:p>
        </p:txBody>
      </p:sp>
      <p:sp>
        <p:nvSpPr>
          <p:cNvPr id="28" name="TextBox 27">
            <a:extLst>
              <a:ext uri="{FF2B5EF4-FFF2-40B4-BE49-F238E27FC236}">
                <a16:creationId xmlns:a16="http://schemas.microsoft.com/office/drawing/2014/main" id="{D26DA2AC-FE15-40F9-9E9B-544270F40A72}"/>
              </a:ext>
            </a:extLst>
          </p:cNvPr>
          <p:cNvSpPr txBox="1"/>
          <p:nvPr/>
        </p:nvSpPr>
        <p:spPr>
          <a:xfrm>
            <a:off x="5953482" y="2725953"/>
            <a:ext cx="2982319" cy="33855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DataStage to ADF/ADB</a:t>
            </a:r>
          </a:p>
        </p:txBody>
      </p:sp>
      <p:sp>
        <p:nvSpPr>
          <p:cNvPr id="29" name="TextBox 28">
            <a:extLst>
              <a:ext uri="{FF2B5EF4-FFF2-40B4-BE49-F238E27FC236}">
                <a16:creationId xmlns:a16="http://schemas.microsoft.com/office/drawing/2014/main" id="{46F0A7C9-7574-4BA7-9D1D-EF7FF473089F}"/>
              </a:ext>
            </a:extLst>
          </p:cNvPr>
          <p:cNvSpPr txBox="1"/>
          <p:nvPr/>
        </p:nvSpPr>
        <p:spPr>
          <a:xfrm>
            <a:off x="5965841" y="4109307"/>
            <a:ext cx="3182904" cy="33855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Converts Qlik to PowerBI</a:t>
            </a:r>
          </a:p>
        </p:txBody>
      </p:sp>
      <p:sp>
        <p:nvSpPr>
          <p:cNvPr id="22" name="TextBox 21">
            <a:extLst>
              <a:ext uri="{FF2B5EF4-FFF2-40B4-BE49-F238E27FC236}">
                <a16:creationId xmlns:a16="http://schemas.microsoft.com/office/drawing/2014/main" id="{8251DA8F-ED81-46B2-AFC3-3AEC74B49DB3}"/>
              </a:ext>
            </a:extLst>
          </p:cNvPr>
          <p:cNvSpPr txBox="1"/>
          <p:nvPr/>
        </p:nvSpPr>
        <p:spPr>
          <a:xfrm>
            <a:off x="9433863" y="1507510"/>
            <a:ext cx="2350244" cy="83099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Multiple banks and insurance customers</a:t>
            </a:r>
          </a:p>
        </p:txBody>
      </p:sp>
      <p:sp>
        <p:nvSpPr>
          <p:cNvPr id="3" name="Rectangle: Rounded Corners 2">
            <a:extLst>
              <a:ext uri="{FF2B5EF4-FFF2-40B4-BE49-F238E27FC236}">
                <a16:creationId xmlns:a16="http://schemas.microsoft.com/office/drawing/2014/main" id="{F78BE386-FDE6-4860-8E4A-E8C3CB63A0EE}"/>
              </a:ext>
            </a:extLst>
          </p:cNvPr>
          <p:cNvSpPr/>
          <p:nvPr/>
        </p:nvSpPr>
        <p:spPr>
          <a:xfrm>
            <a:off x="2488607" y="619704"/>
            <a:ext cx="3028963" cy="66157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Existing</a:t>
            </a:r>
          </a:p>
        </p:txBody>
      </p:sp>
      <p:sp>
        <p:nvSpPr>
          <p:cNvPr id="27" name="Rectangle: Rounded Corners 26">
            <a:extLst>
              <a:ext uri="{FF2B5EF4-FFF2-40B4-BE49-F238E27FC236}">
                <a16:creationId xmlns:a16="http://schemas.microsoft.com/office/drawing/2014/main" id="{5CB8BEC3-67AC-456B-A95E-99857A89D1B2}"/>
              </a:ext>
            </a:extLst>
          </p:cNvPr>
          <p:cNvSpPr/>
          <p:nvPr/>
        </p:nvSpPr>
        <p:spPr>
          <a:xfrm>
            <a:off x="6176951" y="644716"/>
            <a:ext cx="2971794" cy="66157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In pipeline</a:t>
            </a:r>
          </a:p>
        </p:txBody>
      </p:sp>
      <p:sp>
        <p:nvSpPr>
          <p:cNvPr id="31" name="Rectangle: Rounded Corners 30">
            <a:extLst>
              <a:ext uri="{FF2B5EF4-FFF2-40B4-BE49-F238E27FC236}">
                <a16:creationId xmlns:a16="http://schemas.microsoft.com/office/drawing/2014/main" id="{2ECE8DE1-A6A0-4145-A40A-275C7D10F09E}"/>
              </a:ext>
            </a:extLst>
          </p:cNvPr>
          <p:cNvSpPr/>
          <p:nvPr/>
        </p:nvSpPr>
        <p:spPr>
          <a:xfrm>
            <a:off x="9777616" y="657222"/>
            <a:ext cx="1832218" cy="66157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Customers</a:t>
            </a:r>
          </a:p>
        </p:txBody>
      </p:sp>
      <p:sp>
        <p:nvSpPr>
          <p:cNvPr id="32" name="TextBox 31">
            <a:extLst>
              <a:ext uri="{FF2B5EF4-FFF2-40B4-BE49-F238E27FC236}">
                <a16:creationId xmlns:a16="http://schemas.microsoft.com/office/drawing/2014/main" id="{5A8BFF16-65D2-4A0F-99F3-CA014C0E0324}"/>
              </a:ext>
            </a:extLst>
          </p:cNvPr>
          <p:cNvSpPr txBox="1"/>
          <p:nvPr/>
        </p:nvSpPr>
        <p:spPr>
          <a:xfrm>
            <a:off x="9433823" y="2713740"/>
            <a:ext cx="2350279" cy="83099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Multiple banks and insurance customers</a:t>
            </a:r>
          </a:p>
        </p:txBody>
      </p:sp>
      <p:sp>
        <p:nvSpPr>
          <p:cNvPr id="34" name="TextBox 33">
            <a:extLst>
              <a:ext uri="{FF2B5EF4-FFF2-40B4-BE49-F238E27FC236}">
                <a16:creationId xmlns:a16="http://schemas.microsoft.com/office/drawing/2014/main" id="{D389322F-09FB-44EA-99B8-6394E3CD9D4F}"/>
              </a:ext>
            </a:extLst>
          </p:cNvPr>
          <p:cNvSpPr txBox="1"/>
          <p:nvPr/>
        </p:nvSpPr>
        <p:spPr>
          <a:xfrm>
            <a:off x="9438776" y="4104622"/>
            <a:ext cx="2429415" cy="83099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Leading Australian power sector customer</a:t>
            </a:r>
          </a:p>
        </p:txBody>
      </p:sp>
      <p:cxnSp>
        <p:nvCxnSpPr>
          <p:cNvPr id="24" name="Straight Connector 23">
            <a:extLst>
              <a:ext uri="{FF2B5EF4-FFF2-40B4-BE49-F238E27FC236}">
                <a16:creationId xmlns:a16="http://schemas.microsoft.com/office/drawing/2014/main" id="{A0753A15-849B-4169-A43A-480EE8E011F5}"/>
              </a:ext>
            </a:extLst>
          </p:cNvPr>
          <p:cNvCxnSpPr/>
          <p:nvPr/>
        </p:nvCxnSpPr>
        <p:spPr>
          <a:xfrm>
            <a:off x="241477" y="5153286"/>
            <a:ext cx="11907749"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014738F1-862B-45B6-BB70-464B967F08C2}"/>
              </a:ext>
            </a:extLst>
          </p:cNvPr>
          <p:cNvSpPr/>
          <p:nvPr/>
        </p:nvSpPr>
        <p:spPr>
          <a:xfrm>
            <a:off x="269948" y="5416164"/>
            <a:ext cx="1696023" cy="76256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A2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Ubuntu"/>
                <a:ea typeface="+mn-ea"/>
                <a:cs typeface="+mn-cs"/>
              </a:rPr>
              <a:t>Test automation</a:t>
            </a:r>
          </a:p>
        </p:txBody>
      </p:sp>
      <p:cxnSp>
        <p:nvCxnSpPr>
          <p:cNvPr id="38" name="Straight Connector 37">
            <a:extLst>
              <a:ext uri="{FF2B5EF4-FFF2-40B4-BE49-F238E27FC236}">
                <a16:creationId xmlns:a16="http://schemas.microsoft.com/office/drawing/2014/main" id="{C0342BEA-CBC2-4EA9-9598-992A65D05E29}"/>
              </a:ext>
            </a:extLst>
          </p:cNvPr>
          <p:cNvCxnSpPr>
            <a:cxnSpLocks/>
          </p:cNvCxnSpPr>
          <p:nvPr/>
        </p:nvCxnSpPr>
        <p:spPr>
          <a:xfrm>
            <a:off x="5835254" y="875159"/>
            <a:ext cx="0" cy="557013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0479A10-A51F-4D6B-922A-E335F2DADBC3}"/>
              </a:ext>
            </a:extLst>
          </p:cNvPr>
          <p:cNvCxnSpPr>
            <a:cxnSpLocks/>
          </p:cNvCxnSpPr>
          <p:nvPr/>
        </p:nvCxnSpPr>
        <p:spPr>
          <a:xfrm>
            <a:off x="9356708" y="900955"/>
            <a:ext cx="0" cy="5540649"/>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6C6C959F-AB6D-44CF-A689-DC3B4F1DBA49}"/>
              </a:ext>
            </a:extLst>
          </p:cNvPr>
          <p:cNvSpPr txBox="1"/>
          <p:nvPr/>
        </p:nvSpPr>
        <p:spPr>
          <a:xfrm>
            <a:off x="2269194" y="5417861"/>
            <a:ext cx="3480226" cy="83099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Generates unit test cases for Java and Pyth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Generates test data</a:t>
            </a:r>
          </a:p>
        </p:txBody>
      </p:sp>
      <p:sp>
        <p:nvSpPr>
          <p:cNvPr id="41" name="TextBox 40">
            <a:extLst>
              <a:ext uri="{FF2B5EF4-FFF2-40B4-BE49-F238E27FC236}">
                <a16:creationId xmlns:a16="http://schemas.microsoft.com/office/drawing/2014/main" id="{9FAA9C55-C719-4E7F-A016-17223AF39B3E}"/>
              </a:ext>
            </a:extLst>
          </p:cNvPr>
          <p:cNvSpPr txBox="1"/>
          <p:nvPr/>
        </p:nvSpPr>
        <p:spPr>
          <a:xfrm>
            <a:off x="5953483" y="5438735"/>
            <a:ext cx="2898240" cy="33855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err="1">
                <a:ln>
                  <a:noFill/>
                </a:ln>
                <a:solidFill>
                  <a:schemeClr val="bg1"/>
                </a:solidFill>
                <a:effectLst/>
                <a:uLnTx/>
                <a:uFillTx/>
                <a:latin typeface="Ubuntu"/>
                <a:ea typeface="+mn-ea"/>
                <a:cs typeface="+mn-cs"/>
              </a:rPr>
              <a:t>Selinium</a:t>
            </a:r>
            <a:endParaRPr kumimoji="0" lang="en-IN" sz="1600" b="0" i="0" u="none" strike="noStrike" kern="1200" cap="none" spc="0" normalizeH="0" baseline="0" noProof="0" dirty="0">
              <a:ln>
                <a:noFill/>
              </a:ln>
              <a:solidFill>
                <a:schemeClr val="bg1"/>
              </a:solidFill>
              <a:effectLst/>
              <a:uLnTx/>
              <a:uFillTx/>
              <a:latin typeface="Ubuntu"/>
              <a:ea typeface="+mn-ea"/>
              <a:cs typeface="+mn-cs"/>
            </a:endParaRPr>
          </a:p>
        </p:txBody>
      </p:sp>
      <p:sp>
        <p:nvSpPr>
          <p:cNvPr id="42" name="TextBox 41">
            <a:extLst>
              <a:ext uri="{FF2B5EF4-FFF2-40B4-BE49-F238E27FC236}">
                <a16:creationId xmlns:a16="http://schemas.microsoft.com/office/drawing/2014/main" id="{D3962F5D-B2C4-43CD-849C-92907BAF7139}"/>
              </a:ext>
            </a:extLst>
          </p:cNvPr>
          <p:cNvSpPr txBox="1"/>
          <p:nvPr/>
        </p:nvSpPr>
        <p:spPr>
          <a:xfrm>
            <a:off x="9433822" y="5438735"/>
            <a:ext cx="2534291" cy="58477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chemeClr val="bg1"/>
                </a:solidFill>
                <a:effectLst/>
                <a:uLnTx/>
                <a:uFillTx/>
                <a:latin typeface="Ubuntu"/>
                <a:ea typeface="+mn-ea"/>
                <a:cs typeface="+mn-cs"/>
              </a:rPr>
              <a:t>Yet to implement with customer</a:t>
            </a:r>
          </a:p>
        </p:txBody>
      </p:sp>
      <p:sp>
        <p:nvSpPr>
          <p:cNvPr id="4" name="Title 1">
            <a:extLst>
              <a:ext uri="{FF2B5EF4-FFF2-40B4-BE49-F238E27FC236}">
                <a16:creationId xmlns:a16="http://schemas.microsoft.com/office/drawing/2014/main" id="{AD4F9423-3719-B6DF-2340-5F92A2245D4D}"/>
              </a:ext>
            </a:extLst>
          </p:cNvPr>
          <p:cNvSpPr txBox="1">
            <a:spLocks/>
          </p:cNvSpPr>
          <p:nvPr/>
        </p:nvSpPr>
        <p:spPr>
          <a:xfrm>
            <a:off x="299094" y="176921"/>
            <a:ext cx="10562775" cy="492807"/>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b="1" dirty="0">
                <a:solidFill>
                  <a:schemeClr val="bg1"/>
                </a:solidFill>
                <a:latin typeface="Ubuntu" panose="020B0504030602030204" pitchFamily="34" charset="0"/>
              </a:rPr>
              <a:t>A2B – Generative AI</a:t>
            </a:r>
          </a:p>
        </p:txBody>
      </p:sp>
    </p:spTree>
    <p:extLst>
      <p:ext uri="{BB962C8B-B14F-4D97-AF65-F5344CB8AC3E}">
        <p14:creationId xmlns:p14="http://schemas.microsoft.com/office/powerpoint/2010/main" val="31365043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586DFE0-D714-115D-798F-A81838DDC47F}"/>
              </a:ext>
            </a:extLst>
          </p:cNvPr>
          <p:cNvSpPr/>
          <p:nvPr/>
        </p:nvSpPr>
        <p:spPr>
          <a:xfrm>
            <a:off x="276372" y="2068499"/>
            <a:ext cx="823722" cy="3708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en-IN" sz="1100" dirty="0">
                <a:solidFill>
                  <a:schemeClr val="bg1"/>
                </a:solidFill>
              </a:rPr>
              <a:t>SOURCE CODE</a:t>
            </a:r>
            <a:endParaRPr lang="en-US" sz="1100" dirty="0">
              <a:solidFill>
                <a:schemeClr val="bg1"/>
              </a:solidFill>
            </a:endParaRPr>
          </a:p>
        </p:txBody>
      </p:sp>
      <p:sp>
        <p:nvSpPr>
          <p:cNvPr id="79" name="Rectangle 78">
            <a:extLst>
              <a:ext uri="{FF2B5EF4-FFF2-40B4-BE49-F238E27FC236}">
                <a16:creationId xmlns:a16="http://schemas.microsoft.com/office/drawing/2014/main" id="{716A7704-D386-C15D-7FB8-C3754E341325}"/>
              </a:ext>
            </a:extLst>
          </p:cNvPr>
          <p:cNvSpPr/>
          <p:nvPr/>
        </p:nvSpPr>
        <p:spPr>
          <a:xfrm>
            <a:off x="1409553" y="2068499"/>
            <a:ext cx="1184741" cy="370800"/>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rgbClr val="FFFF00"/>
                </a:solidFill>
              </a:rPr>
              <a:t>CODE PARSING</a:t>
            </a:r>
            <a:endParaRPr lang="en-US" sz="1100" dirty="0">
              <a:solidFill>
                <a:srgbClr val="FFFF00"/>
              </a:solidFill>
            </a:endParaRPr>
          </a:p>
        </p:txBody>
      </p:sp>
      <p:cxnSp>
        <p:nvCxnSpPr>
          <p:cNvPr id="80" name="Straight Arrow Connector 79">
            <a:extLst>
              <a:ext uri="{FF2B5EF4-FFF2-40B4-BE49-F238E27FC236}">
                <a16:creationId xmlns:a16="http://schemas.microsoft.com/office/drawing/2014/main" id="{BDEAFA86-9447-CBDD-1F19-8D50B9ED5A06}"/>
              </a:ext>
            </a:extLst>
          </p:cNvPr>
          <p:cNvCxnSpPr>
            <a:cxnSpLocks/>
            <a:endCxn id="79" idx="1"/>
          </p:cNvCxnSpPr>
          <p:nvPr/>
        </p:nvCxnSpPr>
        <p:spPr>
          <a:xfrm flipV="1">
            <a:off x="1142269" y="2253899"/>
            <a:ext cx="267284" cy="346"/>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8A9A48AA-CCA7-1E0C-5045-B7488360FE38}"/>
              </a:ext>
            </a:extLst>
          </p:cNvPr>
          <p:cNvSpPr/>
          <p:nvPr/>
        </p:nvSpPr>
        <p:spPr>
          <a:xfrm>
            <a:off x="2854874" y="2068499"/>
            <a:ext cx="1214036" cy="39058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en-IN" sz="1100" dirty="0">
                <a:solidFill>
                  <a:schemeClr val="bg1"/>
                </a:solidFill>
              </a:rPr>
              <a:t>Block identification</a:t>
            </a:r>
            <a:endParaRPr lang="en-US" sz="1100" dirty="0">
              <a:solidFill>
                <a:schemeClr val="bg1"/>
              </a:solidFill>
            </a:endParaRPr>
          </a:p>
        </p:txBody>
      </p:sp>
      <p:cxnSp>
        <p:nvCxnSpPr>
          <p:cNvPr id="82" name="Straight Arrow Connector 81">
            <a:extLst>
              <a:ext uri="{FF2B5EF4-FFF2-40B4-BE49-F238E27FC236}">
                <a16:creationId xmlns:a16="http://schemas.microsoft.com/office/drawing/2014/main" id="{19CBFB37-B5CE-7ECF-FAE5-32820743C7FD}"/>
              </a:ext>
            </a:extLst>
          </p:cNvPr>
          <p:cNvCxnSpPr>
            <a:cxnSpLocks/>
            <a:stCxn id="79" idx="3"/>
            <a:endCxn id="81" idx="1"/>
          </p:cNvCxnSpPr>
          <p:nvPr/>
        </p:nvCxnSpPr>
        <p:spPr>
          <a:xfrm>
            <a:off x="2594294" y="2253899"/>
            <a:ext cx="260580" cy="989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4EE2E8E0-BE67-D439-DD04-E135E526AEA0}"/>
              </a:ext>
            </a:extLst>
          </p:cNvPr>
          <p:cNvSpPr/>
          <p:nvPr/>
        </p:nvSpPr>
        <p:spPr>
          <a:xfrm>
            <a:off x="4452867" y="1674047"/>
            <a:ext cx="1377043" cy="410363"/>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en-IN" sz="1100" dirty="0">
                <a:solidFill>
                  <a:schemeClr val="bg1"/>
                </a:solidFill>
              </a:rPr>
              <a:t>DATA BLOCK, % STATEMENTS</a:t>
            </a:r>
            <a:endParaRPr lang="en-US" sz="1100" dirty="0">
              <a:solidFill>
                <a:schemeClr val="bg1"/>
              </a:solidFill>
            </a:endParaRPr>
          </a:p>
        </p:txBody>
      </p:sp>
      <p:sp>
        <p:nvSpPr>
          <p:cNvPr id="86" name="Rectangle 85">
            <a:extLst>
              <a:ext uri="{FF2B5EF4-FFF2-40B4-BE49-F238E27FC236}">
                <a16:creationId xmlns:a16="http://schemas.microsoft.com/office/drawing/2014/main" id="{160C0AFF-A5BF-A5D9-7D6D-B2562AA2702D}"/>
              </a:ext>
            </a:extLst>
          </p:cNvPr>
          <p:cNvSpPr/>
          <p:nvPr/>
        </p:nvSpPr>
        <p:spPr>
          <a:xfrm>
            <a:off x="6236122" y="1667845"/>
            <a:ext cx="965669" cy="390675"/>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a:solidFill>
                  <a:srgbClr val="FFFF00"/>
                </a:solidFill>
              </a:rPr>
              <a:t>Accelerator</a:t>
            </a:r>
            <a:endParaRPr lang="en-US" sz="1100" err="1">
              <a:solidFill>
                <a:srgbClr val="FFFF00"/>
              </a:solidFill>
            </a:endParaRPr>
          </a:p>
        </p:txBody>
      </p:sp>
      <p:sp>
        <p:nvSpPr>
          <p:cNvPr id="89" name="Rectangle 88">
            <a:extLst>
              <a:ext uri="{FF2B5EF4-FFF2-40B4-BE49-F238E27FC236}">
                <a16:creationId xmlns:a16="http://schemas.microsoft.com/office/drawing/2014/main" id="{D5C911D3-5D2E-BE8D-8A1D-33D13B780F68}"/>
              </a:ext>
            </a:extLst>
          </p:cNvPr>
          <p:cNvSpPr/>
          <p:nvPr/>
        </p:nvSpPr>
        <p:spPr>
          <a:xfrm>
            <a:off x="11172736" y="2058607"/>
            <a:ext cx="943948" cy="410363"/>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en-IN" sz="1100" dirty="0">
                <a:solidFill>
                  <a:schemeClr val="bg1"/>
                </a:solidFill>
              </a:rPr>
              <a:t>TARGET CODE</a:t>
            </a:r>
            <a:endParaRPr lang="en-US" sz="1100" dirty="0">
              <a:solidFill>
                <a:schemeClr val="bg1"/>
              </a:solidFill>
            </a:endParaRPr>
          </a:p>
        </p:txBody>
      </p:sp>
      <p:sp>
        <p:nvSpPr>
          <p:cNvPr id="91" name="Oval 90">
            <a:extLst>
              <a:ext uri="{FF2B5EF4-FFF2-40B4-BE49-F238E27FC236}">
                <a16:creationId xmlns:a16="http://schemas.microsoft.com/office/drawing/2014/main" id="{FB3B6B2E-F042-E758-0249-6494B7A5EA07}"/>
              </a:ext>
            </a:extLst>
          </p:cNvPr>
          <p:cNvSpPr/>
          <p:nvPr/>
        </p:nvSpPr>
        <p:spPr>
          <a:xfrm>
            <a:off x="8300187" y="735584"/>
            <a:ext cx="1377043" cy="633806"/>
          </a:xfrm>
          <a:prstGeom prst="ellipse">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a:solidFill>
                  <a:srgbClr val="FFFF00"/>
                </a:solidFill>
              </a:rPr>
              <a:t>Python</a:t>
            </a:r>
            <a:endParaRPr lang="en-US" sz="1100" err="1">
              <a:solidFill>
                <a:srgbClr val="FFFF00"/>
              </a:solidFill>
            </a:endParaRPr>
          </a:p>
        </p:txBody>
      </p:sp>
      <p:sp>
        <p:nvSpPr>
          <p:cNvPr id="92" name="Oval 91">
            <a:extLst>
              <a:ext uri="{FF2B5EF4-FFF2-40B4-BE49-F238E27FC236}">
                <a16:creationId xmlns:a16="http://schemas.microsoft.com/office/drawing/2014/main" id="{5F9F0B64-8AA6-67B0-6464-1A3087CA1796}"/>
              </a:ext>
            </a:extLst>
          </p:cNvPr>
          <p:cNvSpPr/>
          <p:nvPr/>
        </p:nvSpPr>
        <p:spPr>
          <a:xfrm>
            <a:off x="6236515" y="2311927"/>
            <a:ext cx="1072325" cy="633802"/>
          </a:xfrm>
          <a:prstGeom prst="ellipse">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rgbClr val="FFFF00"/>
                </a:solidFill>
              </a:rPr>
              <a:t>LLM (</a:t>
            </a:r>
            <a:r>
              <a:rPr lang="en-IN" sz="1100" dirty="0" err="1">
                <a:solidFill>
                  <a:srgbClr val="FFFF00"/>
                </a:solidFill>
              </a:rPr>
              <a:t>OpenAI</a:t>
            </a:r>
            <a:r>
              <a:rPr lang="en-IN" sz="1100" dirty="0">
                <a:solidFill>
                  <a:srgbClr val="FFFF00"/>
                </a:solidFill>
              </a:rPr>
              <a:t>)</a:t>
            </a:r>
            <a:endParaRPr lang="en-US" sz="1100" dirty="0">
              <a:solidFill>
                <a:srgbClr val="FFFF00"/>
              </a:solidFill>
            </a:endParaRPr>
          </a:p>
        </p:txBody>
      </p:sp>
      <p:sp>
        <p:nvSpPr>
          <p:cNvPr id="95" name="Rectangle 94">
            <a:extLst>
              <a:ext uri="{FF2B5EF4-FFF2-40B4-BE49-F238E27FC236}">
                <a16:creationId xmlns:a16="http://schemas.microsoft.com/office/drawing/2014/main" id="{BB3C5F10-AE9D-72E5-A676-CE8377C4BA5C}"/>
              </a:ext>
            </a:extLst>
          </p:cNvPr>
          <p:cNvSpPr/>
          <p:nvPr/>
        </p:nvSpPr>
        <p:spPr>
          <a:xfrm>
            <a:off x="299094" y="828699"/>
            <a:ext cx="1602000" cy="370800"/>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a:solidFill>
                  <a:srgbClr val="FFFF00"/>
                </a:solidFill>
              </a:rPr>
              <a:t>A2B</a:t>
            </a:r>
            <a:endParaRPr lang="en-US" sz="1100" err="1">
              <a:solidFill>
                <a:srgbClr val="FFFF00"/>
              </a:solidFill>
            </a:endParaRPr>
          </a:p>
        </p:txBody>
      </p:sp>
      <p:sp>
        <p:nvSpPr>
          <p:cNvPr id="96" name="Oval 95">
            <a:extLst>
              <a:ext uri="{FF2B5EF4-FFF2-40B4-BE49-F238E27FC236}">
                <a16:creationId xmlns:a16="http://schemas.microsoft.com/office/drawing/2014/main" id="{7C85F4BC-FB51-3287-5940-A650107AE8B9}"/>
              </a:ext>
            </a:extLst>
          </p:cNvPr>
          <p:cNvSpPr/>
          <p:nvPr/>
        </p:nvSpPr>
        <p:spPr>
          <a:xfrm>
            <a:off x="2121386" y="783483"/>
            <a:ext cx="1496786" cy="531359"/>
          </a:xfrm>
          <a:prstGeom prst="ellipse">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a:solidFill>
                  <a:srgbClr val="FFFF00"/>
                </a:solidFill>
              </a:rPr>
              <a:t>Technologies used</a:t>
            </a:r>
            <a:endParaRPr lang="en-US" sz="1100" err="1">
              <a:solidFill>
                <a:srgbClr val="FFFF00"/>
              </a:solidFill>
            </a:endParaRPr>
          </a:p>
        </p:txBody>
      </p:sp>
      <p:cxnSp>
        <p:nvCxnSpPr>
          <p:cNvPr id="97" name="Straight Arrow Connector 96">
            <a:extLst>
              <a:ext uri="{FF2B5EF4-FFF2-40B4-BE49-F238E27FC236}">
                <a16:creationId xmlns:a16="http://schemas.microsoft.com/office/drawing/2014/main" id="{E05A2B1E-E1F7-5974-D1CD-992114731718}"/>
              </a:ext>
            </a:extLst>
          </p:cNvPr>
          <p:cNvCxnSpPr>
            <a:cxnSpLocks/>
          </p:cNvCxnSpPr>
          <p:nvPr/>
        </p:nvCxnSpPr>
        <p:spPr>
          <a:xfrm>
            <a:off x="5829320" y="1858064"/>
            <a:ext cx="406803"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8" name="Title 1">
            <a:extLst>
              <a:ext uri="{FF2B5EF4-FFF2-40B4-BE49-F238E27FC236}">
                <a16:creationId xmlns:a16="http://schemas.microsoft.com/office/drawing/2014/main" id="{FA2420EC-C002-6993-7ADB-8F3D38BCB2FC}"/>
              </a:ext>
            </a:extLst>
          </p:cNvPr>
          <p:cNvSpPr txBox="1">
            <a:spLocks/>
          </p:cNvSpPr>
          <p:nvPr/>
        </p:nvSpPr>
        <p:spPr>
          <a:xfrm>
            <a:off x="299094" y="176921"/>
            <a:ext cx="10562775" cy="492807"/>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b="1" dirty="0">
                <a:solidFill>
                  <a:schemeClr val="bg1"/>
                </a:solidFill>
                <a:latin typeface="Ubuntu" panose="020B0504030602030204" pitchFamily="34" charset="0"/>
              </a:rPr>
              <a:t>SOLUTION ARCHITECTURE</a:t>
            </a:r>
            <a:endParaRPr lang="en-IN" b="1" dirty="0">
              <a:solidFill>
                <a:schemeClr val="bg1"/>
              </a:solidFill>
            </a:endParaRPr>
          </a:p>
        </p:txBody>
      </p:sp>
      <p:sp>
        <p:nvSpPr>
          <p:cNvPr id="16" name="Rectangle 15">
            <a:extLst>
              <a:ext uri="{FF2B5EF4-FFF2-40B4-BE49-F238E27FC236}">
                <a16:creationId xmlns:a16="http://schemas.microsoft.com/office/drawing/2014/main" id="{0F28A0C0-8F21-CC1C-A7A2-6BBF1C2A31EC}"/>
              </a:ext>
            </a:extLst>
          </p:cNvPr>
          <p:cNvSpPr/>
          <p:nvPr/>
        </p:nvSpPr>
        <p:spPr>
          <a:xfrm>
            <a:off x="4711549" y="4061721"/>
            <a:ext cx="1602000" cy="370800"/>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rgbClr val="FFFF00"/>
                </a:solidFill>
              </a:rPr>
              <a:t>Reconciliation</a:t>
            </a:r>
            <a:endParaRPr lang="en-US" sz="1100" dirty="0">
              <a:solidFill>
                <a:srgbClr val="FFFF00"/>
              </a:solidFill>
            </a:endParaRPr>
          </a:p>
        </p:txBody>
      </p:sp>
      <p:cxnSp>
        <p:nvCxnSpPr>
          <p:cNvPr id="24" name="Connector: Elbow 23">
            <a:extLst>
              <a:ext uri="{FF2B5EF4-FFF2-40B4-BE49-F238E27FC236}">
                <a16:creationId xmlns:a16="http://schemas.microsoft.com/office/drawing/2014/main" id="{3255F987-68DB-F8E0-74D9-D9DE5A26E451}"/>
              </a:ext>
            </a:extLst>
          </p:cNvPr>
          <p:cNvCxnSpPr>
            <a:cxnSpLocks/>
            <a:endCxn id="16" idx="1"/>
          </p:cNvCxnSpPr>
          <p:nvPr/>
        </p:nvCxnSpPr>
        <p:spPr>
          <a:xfrm>
            <a:off x="730408" y="2439645"/>
            <a:ext cx="3981141" cy="1807476"/>
          </a:xfrm>
          <a:prstGeom prst="bentConnector3">
            <a:avLst>
              <a:gd name="adj1" fmla="val 103"/>
            </a:avLst>
          </a:prstGeom>
          <a:ln>
            <a:solidFill>
              <a:schemeClr val="bg1"/>
            </a:solidFill>
            <a:tailEnd type="triangle"/>
          </a:ln>
        </p:spPr>
        <p:style>
          <a:lnRef idx="3">
            <a:schemeClr val="dk1"/>
          </a:lnRef>
          <a:fillRef idx="0">
            <a:schemeClr val="dk1"/>
          </a:fillRef>
          <a:effectRef idx="2">
            <a:schemeClr val="dk1"/>
          </a:effectRef>
          <a:fontRef idx="minor">
            <a:schemeClr val="tx1"/>
          </a:fontRef>
        </p:style>
      </p:cxnSp>
      <p:cxnSp>
        <p:nvCxnSpPr>
          <p:cNvPr id="26" name="Connector: Elbow 25">
            <a:extLst>
              <a:ext uri="{FF2B5EF4-FFF2-40B4-BE49-F238E27FC236}">
                <a16:creationId xmlns:a16="http://schemas.microsoft.com/office/drawing/2014/main" id="{60461ED4-C741-DD82-7ED9-D20F607FAF31}"/>
              </a:ext>
            </a:extLst>
          </p:cNvPr>
          <p:cNvCxnSpPr>
            <a:cxnSpLocks/>
            <a:endCxn id="16" idx="3"/>
          </p:cNvCxnSpPr>
          <p:nvPr/>
        </p:nvCxnSpPr>
        <p:spPr>
          <a:xfrm rot="10800000" flipV="1">
            <a:off x="6313549" y="2468967"/>
            <a:ext cx="5331162" cy="1778153"/>
          </a:xfrm>
          <a:prstGeom prst="bentConnector3">
            <a:avLst>
              <a:gd name="adj1" fmla="val 121"/>
            </a:avLst>
          </a:prstGeom>
          <a:ln>
            <a:solidFill>
              <a:schemeClr val="bg1"/>
            </a:solidFill>
            <a:tailEnd type="triangle"/>
          </a:ln>
        </p:spPr>
        <p:style>
          <a:lnRef idx="3">
            <a:schemeClr val="accent3"/>
          </a:lnRef>
          <a:fillRef idx="0">
            <a:schemeClr val="accent3"/>
          </a:fillRef>
          <a:effectRef idx="2">
            <a:schemeClr val="accent3"/>
          </a:effectRef>
          <a:fontRef idx="minor">
            <a:schemeClr val="tx1"/>
          </a:fontRef>
        </p:style>
      </p:cxnSp>
      <p:cxnSp>
        <p:nvCxnSpPr>
          <p:cNvPr id="34" name="Connector: Elbow 33">
            <a:extLst>
              <a:ext uri="{FF2B5EF4-FFF2-40B4-BE49-F238E27FC236}">
                <a16:creationId xmlns:a16="http://schemas.microsoft.com/office/drawing/2014/main" id="{B22D9459-5DBF-A371-D7F7-762C8BB33530}"/>
              </a:ext>
            </a:extLst>
          </p:cNvPr>
          <p:cNvCxnSpPr>
            <a:cxnSpLocks/>
            <a:stCxn id="91" idx="2"/>
            <a:endCxn id="86" idx="0"/>
          </p:cNvCxnSpPr>
          <p:nvPr/>
        </p:nvCxnSpPr>
        <p:spPr>
          <a:xfrm rot="10800000" flipV="1">
            <a:off x="6718957" y="1052487"/>
            <a:ext cx="1581230" cy="615358"/>
          </a:xfrm>
          <a:prstGeom prst="bentConnector2">
            <a:avLst/>
          </a:prstGeom>
          <a:ln>
            <a:solidFill>
              <a:schemeClr val="bg1"/>
            </a:solidFill>
            <a:tailEnd type="triangle"/>
          </a:ln>
        </p:spPr>
        <p:style>
          <a:lnRef idx="3">
            <a:schemeClr val="dk1"/>
          </a:lnRef>
          <a:fillRef idx="0">
            <a:schemeClr val="dk1"/>
          </a:fillRef>
          <a:effectRef idx="2">
            <a:schemeClr val="dk1"/>
          </a:effectRef>
          <a:fontRef idx="minor">
            <a:schemeClr val="tx1"/>
          </a:fontRef>
        </p:style>
      </p:cxnSp>
      <p:sp>
        <p:nvSpPr>
          <p:cNvPr id="11" name="Rectangle 10">
            <a:extLst>
              <a:ext uri="{FF2B5EF4-FFF2-40B4-BE49-F238E27FC236}">
                <a16:creationId xmlns:a16="http://schemas.microsoft.com/office/drawing/2014/main" id="{077E83D8-063E-464C-52FC-5311DF6F7A00}"/>
              </a:ext>
            </a:extLst>
          </p:cNvPr>
          <p:cNvSpPr/>
          <p:nvPr/>
        </p:nvSpPr>
        <p:spPr>
          <a:xfrm>
            <a:off x="4452277" y="2450358"/>
            <a:ext cx="1377043" cy="37960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en-IN" sz="1100" dirty="0">
                <a:solidFill>
                  <a:schemeClr val="bg1"/>
                </a:solidFill>
              </a:rPr>
              <a:t>PROC BLOCKS</a:t>
            </a:r>
            <a:endParaRPr lang="en-US" sz="1100" dirty="0">
              <a:solidFill>
                <a:schemeClr val="bg1"/>
              </a:solidFill>
            </a:endParaRPr>
          </a:p>
        </p:txBody>
      </p:sp>
      <p:cxnSp>
        <p:nvCxnSpPr>
          <p:cNvPr id="13" name="Connector: Elbow 12">
            <a:extLst>
              <a:ext uri="{FF2B5EF4-FFF2-40B4-BE49-F238E27FC236}">
                <a16:creationId xmlns:a16="http://schemas.microsoft.com/office/drawing/2014/main" id="{77F5A1EA-D344-AF4E-7A6F-9BE982973B81}"/>
              </a:ext>
            </a:extLst>
          </p:cNvPr>
          <p:cNvCxnSpPr>
            <a:cxnSpLocks/>
          </p:cNvCxnSpPr>
          <p:nvPr/>
        </p:nvCxnSpPr>
        <p:spPr>
          <a:xfrm>
            <a:off x="4064556" y="2266460"/>
            <a:ext cx="392318" cy="381889"/>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5E474F8B-7376-694A-3362-D4F339E6274D}"/>
              </a:ext>
            </a:extLst>
          </p:cNvPr>
          <p:cNvCxnSpPr>
            <a:cxnSpLocks/>
            <a:stCxn id="81" idx="3"/>
            <a:endCxn id="83" idx="1"/>
          </p:cNvCxnSpPr>
          <p:nvPr/>
        </p:nvCxnSpPr>
        <p:spPr>
          <a:xfrm flipV="1">
            <a:off x="4068910" y="1879229"/>
            <a:ext cx="383957" cy="384560"/>
          </a:xfrm>
          <a:prstGeom prst="bentConnector3">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E2E08530-1FBC-132D-AF5E-58B041807C54}"/>
              </a:ext>
            </a:extLst>
          </p:cNvPr>
          <p:cNvCxnSpPr>
            <a:cxnSpLocks/>
          </p:cNvCxnSpPr>
          <p:nvPr/>
        </p:nvCxnSpPr>
        <p:spPr>
          <a:xfrm>
            <a:off x="5829319" y="2634627"/>
            <a:ext cx="406803"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1C7CF49D-F9AD-5CF1-8740-16CDBA954B04}"/>
              </a:ext>
            </a:extLst>
          </p:cNvPr>
          <p:cNvSpPr/>
          <p:nvPr/>
        </p:nvSpPr>
        <p:spPr>
          <a:xfrm>
            <a:off x="7762304" y="1655286"/>
            <a:ext cx="844739" cy="410363"/>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en-IN" sz="1100" dirty="0">
                <a:solidFill>
                  <a:schemeClr val="bg1"/>
                </a:solidFill>
              </a:rPr>
              <a:t>OUTPUT 1…n</a:t>
            </a:r>
            <a:endParaRPr lang="en-US" sz="1100" dirty="0">
              <a:solidFill>
                <a:schemeClr val="bg1"/>
              </a:solidFill>
            </a:endParaRPr>
          </a:p>
        </p:txBody>
      </p:sp>
      <p:sp>
        <p:nvSpPr>
          <p:cNvPr id="55" name="Rectangle 54">
            <a:extLst>
              <a:ext uri="{FF2B5EF4-FFF2-40B4-BE49-F238E27FC236}">
                <a16:creationId xmlns:a16="http://schemas.microsoft.com/office/drawing/2014/main" id="{5748D354-FE5C-5270-6F0F-8A90075A4462}"/>
              </a:ext>
            </a:extLst>
          </p:cNvPr>
          <p:cNvSpPr/>
          <p:nvPr/>
        </p:nvSpPr>
        <p:spPr>
          <a:xfrm>
            <a:off x="7752367" y="2446123"/>
            <a:ext cx="844739" cy="410363"/>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en-IN" sz="1100" dirty="0">
                <a:solidFill>
                  <a:schemeClr val="bg1"/>
                </a:solidFill>
              </a:rPr>
              <a:t>OUTPUT 1…n</a:t>
            </a:r>
            <a:endParaRPr lang="en-US" sz="1100" dirty="0">
              <a:solidFill>
                <a:schemeClr val="bg1"/>
              </a:solidFill>
            </a:endParaRPr>
          </a:p>
        </p:txBody>
      </p:sp>
      <p:cxnSp>
        <p:nvCxnSpPr>
          <p:cNvPr id="60" name="Straight Arrow Connector 59">
            <a:extLst>
              <a:ext uri="{FF2B5EF4-FFF2-40B4-BE49-F238E27FC236}">
                <a16:creationId xmlns:a16="http://schemas.microsoft.com/office/drawing/2014/main" id="{D8BAAB60-7CCC-45C3-8495-A101539E824A}"/>
              </a:ext>
            </a:extLst>
          </p:cNvPr>
          <p:cNvCxnSpPr>
            <a:cxnSpLocks/>
            <a:stCxn id="86" idx="3"/>
            <a:endCxn id="54" idx="1"/>
          </p:cNvCxnSpPr>
          <p:nvPr/>
        </p:nvCxnSpPr>
        <p:spPr>
          <a:xfrm flipV="1">
            <a:off x="7201791" y="1860468"/>
            <a:ext cx="560513" cy="2715"/>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3E07CDA0-5D5A-4916-F6DC-A103CE748B7C}"/>
              </a:ext>
            </a:extLst>
          </p:cNvPr>
          <p:cNvCxnSpPr>
            <a:cxnSpLocks/>
          </p:cNvCxnSpPr>
          <p:nvPr/>
        </p:nvCxnSpPr>
        <p:spPr>
          <a:xfrm>
            <a:off x="7306170" y="2648349"/>
            <a:ext cx="406803"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EB87D138-6E5C-EFE2-4D3A-7A3205E7F70F}"/>
              </a:ext>
            </a:extLst>
          </p:cNvPr>
          <p:cNvSpPr/>
          <p:nvPr/>
        </p:nvSpPr>
        <p:spPr>
          <a:xfrm>
            <a:off x="9382732" y="2063214"/>
            <a:ext cx="1038594" cy="390579"/>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rgbClr val="FFFF00"/>
                </a:solidFill>
              </a:rPr>
              <a:t>CODE ASSEMBLING</a:t>
            </a:r>
            <a:endParaRPr lang="en-US" sz="1100" dirty="0">
              <a:solidFill>
                <a:srgbClr val="FFFF00"/>
              </a:solidFill>
            </a:endParaRPr>
          </a:p>
        </p:txBody>
      </p:sp>
      <p:cxnSp>
        <p:nvCxnSpPr>
          <p:cNvPr id="75" name="Connector: Elbow 74">
            <a:extLst>
              <a:ext uri="{FF2B5EF4-FFF2-40B4-BE49-F238E27FC236}">
                <a16:creationId xmlns:a16="http://schemas.microsoft.com/office/drawing/2014/main" id="{0C905C4C-1DA5-0270-D1D7-86080383E18A}"/>
              </a:ext>
            </a:extLst>
          </p:cNvPr>
          <p:cNvCxnSpPr>
            <a:stCxn id="54" idx="3"/>
            <a:endCxn id="67" idx="0"/>
          </p:cNvCxnSpPr>
          <p:nvPr/>
        </p:nvCxnSpPr>
        <p:spPr>
          <a:xfrm>
            <a:off x="8607043" y="1860468"/>
            <a:ext cx="1294986" cy="202746"/>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A984444A-6F38-5E91-50F9-1E006B1774AD}"/>
              </a:ext>
            </a:extLst>
          </p:cNvPr>
          <p:cNvCxnSpPr>
            <a:stCxn id="55" idx="3"/>
            <a:endCxn id="67" idx="2"/>
          </p:cNvCxnSpPr>
          <p:nvPr/>
        </p:nvCxnSpPr>
        <p:spPr>
          <a:xfrm flipV="1">
            <a:off x="8597106" y="2453793"/>
            <a:ext cx="1304923" cy="197512"/>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9EBF60A9-3C47-92D8-F8ED-41012E97BA5C}"/>
              </a:ext>
            </a:extLst>
          </p:cNvPr>
          <p:cNvCxnSpPr>
            <a:cxnSpLocks/>
            <a:stCxn id="67" idx="3"/>
            <a:endCxn id="89" idx="1"/>
          </p:cNvCxnSpPr>
          <p:nvPr/>
        </p:nvCxnSpPr>
        <p:spPr>
          <a:xfrm>
            <a:off x="10421326" y="2258504"/>
            <a:ext cx="751410" cy="5285"/>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18" name="Diamond 117">
            <a:extLst>
              <a:ext uri="{FF2B5EF4-FFF2-40B4-BE49-F238E27FC236}">
                <a16:creationId xmlns:a16="http://schemas.microsoft.com/office/drawing/2014/main" id="{C9285533-6EF9-8330-238F-E6E667CEBA45}"/>
              </a:ext>
            </a:extLst>
          </p:cNvPr>
          <p:cNvSpPr/>
          <p:nvPr/>
        </p:nvSpPr>
        <p:spPr>
          <a:xfrm>
            <a:off x="3322506" y="3034406"/>
            <a:ext cx="912582" cy="694321"/>
          </a:xfrm>
          <a:prstGeom prst="diamond">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119" name="TextBox 118">
            <a:extLst>
              <a:ext uri="{FF2B5EF4-FFF2-40B4-BE49-F238E27FC236}">
                <a16:creationId xmlns:a16="http://schemas.microsoft.com/office/drawing/2014/main" id="{D9A93F04-8414-0449-085E-B34242842F99}"/>
              </a:ext>
            </a:extLst>
          </p:cNvPr>
          <p:cNvSpPr txBox="1"/>
          <p:nvPr/>
        </p:nvSpPr>
        <p:spPr>
          <a:xfrm>
            <a:off x="3391228" y="3162076"/>
            <a:ext cx="775137" cy="338554"/>
          </a:xfrm>
          <a:prstGeom prst="rect">
            <a:avLst/>
          </a:prstGeom>
          <a:noFill/>
        </p:spPr>
        <p:txBody>
          <a:bodyPr wrap="square" rtlCol="0">
            <a:spAutoFit/>
          </a:bodyPr>
          <a:lstStyle/>
          <a:p>
            <a:pPr algn="ctr"/>
            <a:r>
              <a:rPr lang="en-IN" sz="800" dirty="0">
                <a:solidFill>
                  <a:schemeClr val="bg1"/>
                </a:solidFill>
              </a:rPr>
              <a:t>IS MATCHING?</a:t>
            </a:r>
            <a:endParaRPr lang="en-US" sz="800" dirty="0">
              <a:solidFill>
                <a:schemeClr val="bg1"/>
              </a:solidFill>
            </a:endParaRPr>
          </a:p>
        </p:txBody>
      </p:sp>
      <p:sp>
        <p:nvSpPr>
          <p:cNvPr id="120" name="Rectangle 119">
            <a:extLst>
              <a:ext uri="{FF2B5EF4-FFF2-40B4-BE49-F238E27FC236}">
                <a16:creationId xmlns:a16="http://schemas.microsoft.com/office/drawing/2014/main" id="{CD31D4C8-94DF-2D39-3536-86B8A03662CA}"/>
              </a:ext>
            </a:extLst>
          </p:cNvPr>
          <p:cNvSpPr/>
          <p:nvPr/>
        </p:nvSpPr>
        <p:spPr>
          <a:xfrm>
            <a:off x="1537514" y="2764820"/>
            <a:ext cx="1299416" cy="520993"/>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en-IN" sz="1100" dirty="0">
                <a:solidFill>
                  <a:schemeClr val="bg1"/>
                </a:solidFill>
              </a:rPr>
              <a:t>Code conversion successful</a:t>
            </a:r>
            <a:endParaRPr lang="en-US" sz="1100" dirty="0">
              <a:solidFill>
                <a:schemeClr val="bg1"/>
              </a:solidFill>
            </a:endParaRPr>
          </a:p>
        </p:txBody>
      </p:sp>
      <p:sp>
        <p:nvSpPr>
          <p:cNvPr id="121" name="Rectangle 120">
            <a:extLst>
              <a:ext uri="{FF2B5EF4-FFF2-40B4-BE49-F238E27FC236}">
                <a16:creationId xmlns:a16="http://schemas.microsoft.com/office/drawing/2014/main" id="{470B4EFE-721F-D66A-CAA7-2F279075F601}"/>
              </a:ext>
            </a:extLst>
          </p:cNvPr>
          <p:cNvSpPr/>
          <p:nvPr/>
        </p:nvSpPr>
        <p:spPr>
          <a:xfrm>
            <a:off x="1528477" y="3438728"/>
            <a:ext cx="1299416" cy="520993"/>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en-IN" sz="1100" dirty="0">
                <a:solidFill>
                  <a:schemeClr val="bg1"/>
                </a:solidFill>
              </a:rPr>
              <a:t>Manual code fix</a:t>
            </a:r>
            <a:endParaRPr lang="en-US" sz="1100" dirty="0">
              <a:solidFill>
                <a:schemeClr val="bg1"/>
              </a:solidFill>
            </a:endParaRPr>
          </a:p>
        </p:txBody>
      </p:sp>
      <p:cxnSp>
        <p:nvCxnSpPr>
          <p:cNvPr id="123" name="Connector: Elbow 122">
            <a:extLst>
              <a:ext uri="{FF2B5EF4-FFF2-40B4-BE49-F238E27FC236}">
                <a16:creationId xmlns:a16="http://schemas.microsoft.com/office/drawing/2014/main" id="{1C02A51A-46CE-361A-EB84-BF5D8EEF2496}"/>
              </a:ext>
            </a:extLst>
          </p:cNvPr>
          <p:cNvCxnSpPr>
            <a:stCxn id="118" idx="0"/>
          </p:cNvCxnSpPr>
          <p:nvPr/>
        </p:nvCxnSpPr>
        <p:spPr>
          <a:xfrm rot="16200000" flipV="1">
            <a:off x="3207656" y="2463265"/>
            <a:ext cx="217226" cy="925056"/>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2D34C5EA-BE01-2D99-B7F7-552460BB531F}"/>
              </a:ext>
            </a:extLst>
          </p:cNvPr>
          <p:cNvCxnSpPr>
            <a:stCxn id="118" idx="2"/>
          </p:cNvCxnSpPr>
          <p:nvPr/>
        </p:nvCxnSpPr>
        <p:spPr>
          <a:xfrm rot="5400000">
            <a:off x="3208225" y="3389149"/>
            <a:ext cx="230994" cy="910151"/>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393AB389-2A3B-25E1-B1DA-3A61B384EA23}"/>
              </a:ext>
            </a:extLst>
          </p:cNvPr>
          <p:cNvSpPr txBox="1"/>
          <p:nvPr/>
        </p:nvSpPr>
        <p:spPr>
          <a:xfrm>
            <a:off x="2941299" y="2925791"/>
            <a:ext cx="567978" cy="246221"/>
          </a:xfrm>
          <a:prstGeom prst="rect">
            <a:avLst/>
          </a:prstGeom>
          <a:noFill/>
        </p:spPr>
        <p:txBody>
          <a:bodyPr wrap="square" rtlCol="0">
            <a:spAutoFit/>
          </a:bodyPr>
          <a:lstStyle/>
          <a:p>
            <a:r>
              <a:rPr lang="en-IN" sz="1000" dirty="0">
                <a:solidFill>
                  <a:schemeClr val="bg1"/>
                </a:solidFill>
              </a:rPr>
              <a:t>YES</a:t>
            </a:r>
            <a:endParaRPr lang="en-US" sz="1000" dirty="0">
              <a:solidFill>
                <a:schemeClr val="bg1"/>
              </a:solidFill>
            </a:endParaRPr>
          </a:p>
        </p:txBody>
      </p:sp>
      <p:sp>
        <p:nvSpPr>
          <p:cNvPr id="127" name="TextBox 126">
            <a:extLst>
              <a:ext uri="{FF2B5EF4-FFF2-40B4-BE49-F238E27FC236}">
                <a16:creationId xmlns:a16="http://schemas.microsoft.com/office/drawing/2014/main" id="{30C59B93-EB94-46AC-1445-F162107AA4F3}"/>
              </a:ext>
            </a:extLst>
          </p:cNvPr>
          <p:cNvSpPr txBox="1"/>
          <p:nvPr/>
        </p:nvSpPr>
        <p:spPr>
          <a:xfrm>
            <a:off x="2941299" y="3607646"/>
            <a:ext cx="567978" cy="246221"/>
          </a:xfrm>
          <a:prstGeom prst="rect">
            <a:avLst/>
          </a:prstGeom>
          <a:noFill/>
        </p:spPr>
        <p:txBody>
          <a:bodyPr wrap="square" rtlCol="0">
            <a:spAutoFit/>
          </a:bodyPr>
          <a:lstStyle/>
          <a:p>
            <a:r>
              <a:rPr lang="en-IN" sz="1000" dirty="0">
                <a:solidFill>
                  <a:schemeClr val="bg1"/>
                </a:solidFill>
              </a:rPr>
              <a:t>NO</a:t>
            </a:r>
            <a:endParaRPr lang="en-US" sz="1000" dirty="0">
              <a:solidFill>
                <a:schemeClr val="bg1"/>
              </a:solidFill>
            </a:endParaRPr>
          </a:p>
        </p:txBody>
      </p:sp>
      <p:cxnSp>
        <p:nvCxnSpPr>
          <p:cNvPr id="133" name="Connector: Elbow 132">
            <a:extLst>
              <a:ext uri="{FF2B5EF4-FFF2-40B4-BE49-F238E27FC236}">
                <a16:creationId xmlns:a16="http://schemas.microsoft.com/office/drawing/2014/main" id="{0094D501-B8CA-32E5-8C18-41BF11B085A2}"/>
              </a:ext>
            </a:extLst>
          </p:cNvPr>
          <p:cNvCxnSpPr>
            <a:stCxn id="16" idx="0"/>
            <a:endCxn id="118" idx="3"/>
          </p:cNvCxnSpPr>
          <p:nvPr/>
        </p:nvCxnSpPr>
        <p:spPr>
          <a:xfrm rot="16200000" flipV="1">
            <a:off x="4533742" y="3082913"/>
            <a:ext cx="680154" cy="1277461"/>
          </a:xfrm>
          <a:prstGeom prst="bentConnector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4FB15A81-1D7D-BADF-F0D4-122306B3EB54}"/>
              </a:ext>
            </a:extLst>
          </p:cNvPr>
          <p:cNvSpPr/>
          <p:nvPr/>
        </p:nvSpPr>
        <p:spPr>
          <a:xfrm>
            <a:off x="168802" y="4711838"/>
            <a:ext cx="11854395" cy="1969241"/>
          </a:xfrm>
          <a:prstGeom prst="rect">
            <a:avLst/>
          </a:prstGeom>
          <a:solidFill>
            <a:srgbClr val="00B2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Ubuntu" panose="020B0504030602030204" pitchFamily="34" charset="0"/>
              </a:rPr>
              <a:t>GLOSSARY</a:t>
            </a:r>
          </a:p>
          <a:p>
            <a:endParaRPr lang="en-US" sz="1400" dirty="0">
              <a:solidFill>
                <a:schemeClr val="tx1"/>
              </a:solidFill>
              <a:latin typeface="Ubuntu" panose="020B0504030602030204" pitchFamily="34" charset="0"/>
            </a:endParaRPr>
          </a:p>
          <a:p>
            <a:pPr marL="285750" indent="-285750">
              <a:buFont typeface="Arial" panose="020B0604020202020204" pitchFamily="34" charset="0"/>
              <a:buChar char="•"/>
            </a:pPr>
            <a:r>
              <a:rPr lang="en-US" sz="1400" b="1" dirty="0">
                <a:solidFill>
                  <a:schemeClr val="tx1"/>
                </a:solidFill>
                <a:latin typeface="Ubuntu" panose="020B0504030602030204" pitchFamily="34" charset="0"/>
              </a:rPr>
              <a:t>Code parsing </a:t>
            </a:r>
            <a:r>
              <a:rPr lang="en-US" sz="1400" dirty="0">
                <a:solidFill>
                  <a:schemeClr val="tx1"/>
                </a:solidFill>
                <a:latin typeface="Ubuntu" panose="020B0504030602030204" pitchFamily="34" charset="0"/>
              </a:rPr>
              <a:t>: A python code which takes in the Source script and splits it into logical blocks such as data block, proc block, %let statement</a:t>
            </a:r>
          </a:p>
          <a:p>
            <a:pPr marL="285750" indent="-285750">
              <a:buFont typeface="Arial" panose="020B0604020202020204" pitchFamily="34" charset="0"/>
              <a:buChar char="•"/>
            </a:pPr>
            <a:r>
              <a:rPr lang="en-US" sz="1400" b="1" dirty="0">
                <a:solidFill>
                  <a:schemeClr val="tx1"/>
                </a:solidFill>
                <a:latin typeface="Ubuntu" panose="020B0504030602030204" pitchFamily="34" charset="0"/>
              </a:rPr>
              <a:t>A2B accelerator </a:t>
            </a:r>
            <a:r>
              <a:rPr lang="en-US" sz="1400" dirty="0">
                <a:solidFill>
                  <a:schemeClr val="tx1"/>
                </a:solidFill>
                <a:latin typeface="Ubuntu" panose="020B0504030602030204" pitchFamily="34" charset="0"/>
              </a:rPr>
              <a:t>: A python code which takes in Data block and %let statement and convert into its equivalent </a:t>
            </a:r>
            <a:r>
              <a:rPr lang="en-US" sz="1400" dirty="0" err="1">
                <a:solidFill>
                  <a:schemeClr val="tx1"/>
                </a:solidFill>
                <a:latin typeface="Ubuntu" panose="020B0504030602030204" pitchFamily="34" charset="0"/>
              </a:rPr>
              <a:t>PySpark</a:t>
            </a:r>
            <a:r>
              <a:rPr lang="en-US" sz="1400" dirty="0">
                <a:solidFill>
                  <a:schemeClr val="tx1"/>
                </a:solidFill>
                <a:latin typeface="Ubuntu" panose="020B0504030602030204" pitchFamily="34" charset="0"/>
              </a:rPr>
              <a:t> code snippet</a:t>
            </a:r>
          </a:p>
          <a:p>
            <a:pPr marL="285750" indent="-285750">
              <a:buFont typeface="Arial" panose="020B0604020202020204" pitchFamily="34" charset="0"/>
              <a:buChar char="•"/>
            </a:pPr>
            <a:r>
              <a:rPr lang="en-US" sz="1400" b="1" dirty="0">
                <a:solidFill>
                  <a:schemeClr val="tx1"/>
                </a:solidFill>
                <a:latin typeface="Ubuntu" panose="020B0504030602030204" pitchFamily="34" charset="0"/>
              </a:rPr>
              <a:t>Code Assembling </a:t>
            </a:r>
            <a:r>
              <a:rPr lang="en-US" sz="1400" dirty="0">
                <a:solidFill>
                  <a:schemeClr val="tx1"/>
                </a:solidFill>
                <a:latin typeface="Ubuntu" panose="020B0504030602030204" pitchFamily="34" charset="0"/>
              </a:rPr>
              <a:t>: A python code which takes multiple code snippets that was generated from the accelerator and LLM and assemble them into a single </a:t>
            </a:r>
            <a:r>
              <a:rPr lang="en-US" sz="1400" dirty="0" err="1">
                <a:solidFill>
                  <a:schemeClr val="tx1"/>
                </a:solidFill>
                <a:latin typeface="Ubuntu" panose="020B0504030602030204" pitchFamily="34" charset="0"/>
              </a:rPr>
              <a:t>PySpark</a:t>
            </a:r>
            <a:r>
              <a:rPr lang="en-US" sz="1400" dirty="0">
                <a:solidFill>
                  <a:schemeClr val="tx1"/>
                </a:solidFill>
                <a:latin typeface="Ubuntu" panose="020B0504030602030204" pitchFamily="34" charset="0"/>
              </a:rPr>
              <a:t> script.</a:t>
            </a:r>
          </a:p>
          <a:p>
            <a:pPr marL="285750" indent="-285750">
              <a:buFont typeface="Arial" panose="020B0604020202020204" pitchFamily="34" charset="0"/>
              <a:buChar char="•"/>
            </a:pPr>
            <a:r>
              <a:rPr lang="en-US" sz="1400" b="1" dirty="0">
                <a:solidFill>
                  <a:schemeClr val="tx1"/>
                </a:solidFill>
                <a:latin typeface="Ubuntu" panose="020B0504030602030204" pitchFamily="34" charset="0"/>
              </a:rPr>
              <a:t>Reconciliation </a:t>
            </a:r>
            <a:r>
              <a:rPr lang="en-US" sz="1400" dirty="0">
                <a:solidFill>
                  <a:schemeClr val="tx1"/>
                </a:solidFill>
                <a:latin typeface="Ubuntu" panose="020B0504030602030204" pitchFamily="34" charset="0"/>
              </a:rPr>
              <a:t>: Recon tool (Python) will compare the target data of Source code with target data of Target code</a:t>
            </a:r>
            <a:r>
              <a:rPr lang="en-US" sz="1400" b="1" dirty="0">
                <a:solidFill>
                  <a:schemeClr val="tx1"/>
                </a:solidFill>
                <a:latin typeface="Ubuntu" panose="020B0504030602030204" pitchFamily="34" charset="0"/>
              </a:rPr>
              <a:t>.</a:t>
            </a:r>
            <a:endParaRPr lang="en-IN" sz="1400" dirty="0">
              <a:solidFill>
                <a:schemeClr val="tx1"/>
              </a:solidFill>
              <a:latin typeface="Ubuntu" panose="020B0504030602030204" pitchFamily="34" charset="0"/>
            </a:endParaRPr>
          </a:p>
          <a:p>
            <a:pPr algn="ctr"/>
            <a:endParaRPr lang="en-IN" sz="1400" dirty="0">
              <a:solidFill>
                <a:schemeClr val="tx1"/>
              </a:solidFill>
              <a:latin typeface="Ubuntu" panose="020B0504030602030204" pitchFamily="34" charset="0"/>
            </a:endParaRPr>
          </a:p>
          <a:p>
            <a:pPr algn="ctr"/>
            <a:endParaRPr lang="en-US" sz="1600" dirty="0" err="1"/>
          </a:p>
        </p:txBody>
      </p:sp>
    </p:spTree>
    <p:extLst>
      <p:ext uri="{BB962C8B-B14F-4D97-AF65-F5344CB8AC3E}">
        <p14:creationId xmlns:p14="http://schemas.microsoft.com/office/powerpoint/2010/main" val="37655127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ACBC9A2-75A7-C8EF-68ED-531DF1C36A06}"/>
              </a:ext>
            </a:extLst>
          </p:cNvPr>
          <p:cNvSpPr/>
          <p:nvPr/>
        </p:nvSpPr>
        <p:spPr>
          <a:xfrm>
            <a:off x="132198" y="934649"/>
            <a:ext cx="2132433" cy="52755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dirty="0">
                <a:solidFill>
                  <a:schemeClr val="bg1"/>
                </a:solidFill>
                <a:latin typeface="Ubuntu" panose="020B0504030602030204" pitchFamily="34" charset="0"/>
              </a:rPr>
              <a:t>CODE PARSING</a:t>
            </a:r>
            <a:endParaRPr lang="en-US" sz="2000" dirty="0">
              <a:solidFill>
                <a:schemeClr val="bg1"/>
              </a:solidFill>
              <a:latin typeface="Ubuntu" panose="020B0504030602030204" pitchFamily="34" charset="0"/>
            </a:endParaRPr>
          </a:p>
        </p:txBody>
      </p:sp>
      <p:pic>
        <p:nvPicPr>
          <p:cNvPr id="52" name="Picture 51" descr="A screenshot of a computer&#10;&#10;Description automatically generated">
            <a:extLst>
              <a:ext uri="{FF2B5EF4-FFF2-40B4-BE49-F238E27FC236}">
                <a16:creationId xmlns:a16="http://schemas.microsoft.com/office/drawing/2014/main" id="{96B81786-3CB3-5004-6A17-AE6018B38A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39317" y="2854710"/>
            <a:ext cx="2795388" cy="1572406"/>
          </a:xfrm>
          <a:prstGeom prst="rect">
            <a:avLst/>
          </a:prstGeom>
        </p:spPr>
      </p:pic>
      <p:pic>
        <p:nvPicPr>
          <p:cNvPr id="54" name="Picture 53" descr="A screenshot of a computer&#10;&#10;Description automatically generated">
            <a:extLst>
              <a:ext uri="{FF2B5EF4-FFF2-40B4-BE49-F238E27FC236}">
                <a16:creationId xmlns:a16="http://schemas.microsoft.com/office/drawing/2014/main" id="{A2C04FD1-5ABC-527D-A0F8-D9BC1AEDAD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198" y="1664370"/>
            <a:ext cx="4668109" cy="3953086"/>
          </a:xfrm>
          <a:prstGeom prst="rect">
            <a:avLst/>
          </a:prstGeom>
        </p:spPr>
      </p:pic>
      <p:pic>
        <p:nvPicPr>
          <p:cNvPr id="58" name="Picture 57">
            <a:extLst>
              <a:ext uri="{FF2B5EF4-FFF2-40B4-BE49-F238E27FC236}">
                <a16:creationId xmlns:a16="http://schemas.microsoft.com/office/drawing/2014/main" id="{7571FDD4-1321-7666-EC5C-024777904BE0}"/>
              </a:ext>
            </a:extLst>
          </p:cNvPr>
          <p:cNvPicPr>
            <a:picLocks noChangeAspect="1"/>
          </p:cNvPicPr>
          <p:nvPr/>
        </p:nvPicPr>
        <p:blipFill>
          <a:blip r:embed="rId4"/>
          <a:stretch>
            <a:fillRect/>
          </a:stretch>
        </p:blipFill>
        <p:spPr>
          <a:xfrm>
            <a:off x="9380263" y="593402"/>
            <a:ext cx="2060681" cy="1952726"/>
          </a:xfrm>
          <a:prstGeom prst="rect">
            <a:avLst/>
          </a:prstGeom>
        </p:spPr>
      </p:pic>
      <p:pic>
        <p:nvPicPr>
          <p:cNvPr id="60" name="Picture 59">
            <a:extLst>
              <a:ext uri="{FF2B5EF4-FFF2-40B4-BE49-F238E27FC236}">
                <a16:creationId xmlns:a16="http://schemas.microsoft.com/office/drawing/2014/main" id="{47426515-086D-BFF7-0609-A749DE34ECF6}"/>
              </a:ext>
            </a:extLst>
          </p:cNvPr>
          <p:cNvPicPr>
            <a:picLocks noChangeAspect="1"/>
          </p:cNvPicPr>
          <p:nvPr/>
        </p:nvPicPr>
        <p:blipFill>
          <a:blip r:embed="rId5"/>
          <a:stretch>
            <a:fillRect/>
          </a:stretch>
        </p:blipFill>
        <p:spPr>
          <a:xfrm>
            <a:off x="9380262" y="4427116"/>
            <a:ext cx="2060681" cy="2207313"/>
          </a:xfrm>
          <a:prstGeom prst="rect">
            <a:avLst/>
          </a:prstGeom>
        </p:spPr>
      </p:pic>
      <p:cxnSp>
        <p:nvCxnSpPr>
          <p:cNvPr id="3" name="Straight Arrow Connector 2">
            <a:extLst>
              <a:ext uri="{FF2B5EF4-FFF2-40B4-BE49-F238E27FC236}">
                <a16:creationId xmlns:a16="http://schemas.microsoft.com/office/drawing/2014/main" id="{879A36DE-C0F4-C4D2-F0C9-B5FAD11E92EA}"/>
              </a:ext>
            </a:extLst>
          </p:cNvPr>
          <p:cNvCxnSpPr>
            <a:cxnSpLocks/>
            <a:stCxn id="54" idx="3"/>
            <a:endCxn id="52" idx="1"/>
          </p:cNvCxnSpPr>
          <p:nvPr/>
        </p:nvCxnSpPr>
        <p:spPr>
          <a:xfrm>
            <a:off x="4800307" y="3640913"/>
            <a:ext cx="739010" cy="0"/>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4A910C6E-472A-A1B5-D546-339B32C36036}"/>
              </a:ext>
            </a:extLst>
          </p:cNvPr>
          <p:cNvCxnSpPr>
            <a:stCxn id="52" idx="3"/>
            <a:endCxn id="58" idx="1"/>
          </p:cNvCxnSpPr>
          <p:nvPr/>
        </p:nvCxnSpPr>
        <p:spPr>
          <a:xfrm flipV="1">
            <a:off x="8334705" y="1569765"/>
            <a:ext cx="1045558" cy="2071148"/>
          </a:xfrm>
          <a:prstGeom prst="bentConnector3">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08BAA42B-B5F0-C6D8-4697-F512F38778A6}"/>
              </a:ext>
            </a:extLst>
          </p:cNvPr>
          <p:cNvCxnSpPr>
            <a:stCxn id="52" idx="3"/>
            <a:endCxn id="60" idx="1"/>
          </p:cNvCxnSpPr>
          <p:nvPr/>
        </p:nvCxnSpPr>
        <p:spPr>
          <a:xfrm>
            <a:off x="8334705" y="3640913"/>
            <a:ext cx="1045557" cy="1889860"/>
          </a:xfrm>
          <a:prstGeom prst="bentConnector3">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4" name="Speech Bubble: Rectangle 23">
            <a:extLst>
              <a:ext uri="{FF2B5EF4-FFF2-40B4-BE49-F238E27FC236}">
                <a16:creationId xmlns:a16="http://schemas.microsoft.com/office/drawing/2014/main" id="{319571C5-A3EA-FDEC-C94D-EAE6E7273D19}"/>
              </a:ext>
            </a:extLst>
          </p:cNvPr>
          <p:cNvSpPr/>
          <p:nvPr/>
        </p:nvSpPr>
        <p:spPr>
          <a:xfrm>
            <a:off x="3880688" y="5819621"/>
            <a:ext cx="1448057" cy="918502"/>
          </a:xfrm>
          <a:prstGeom prst="wedgeRectCallout">
            <a:avLst>
              <a:gd name="adj1" fmla="val -106099"/>
              <a:gd name="adj2" fmla="val -10702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Content of the SAS script input file.</a:t>
            </a:r>
          </a:p>
        </p:txBody>
      </p:sp>
      <p:sp>
        <p:nvSpPr>
          <p:cNvPr id="25" name="Arrow: Down 24">
            <a:extLst>
              <a:ext uri="{FF2B5EF4-FFF2-40B4-BE49-F238E27FC236}">
                <a16:creationId xmlns:a16="http://schemas.microsoft.com/office/drawing/2014/main" id="{30C92575-2187-9B7B-9EB3-5C5A61E3EC63}"/>
              </a:ext>
            </a:extLst>
          </p:cNvPr>
          <p:cNvSpPr/>
          <p:nvPr/>
        </p:nvSpPr>
        <p:spPr>
          <a:xfrm>
            <a:off x="9538572" y="2546128"/>
            <a:ext cx="409902" cy="47183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Down 25">
            <a:extLst>
              <a:ext uri="{FF2B5EF4-FFF2-40B4-BE49-F238E27FC236}">
                <a16:creationId xmlns:a16="http://schemas.microsoft.com/office/drawing/2014/main" id="{BB4DC7F5-98A8-B981-1680-1E70DFD407F3}"/>
              </a:ext>
            </a:extLst>
          </p:cNvPr>
          <p:cNvSpPr/>
          <p:nvPr/>
        </p:nvSpPr>
        <p:spPr>
          <a:xfrm rot="10800000">
            <a:off x="9538571" y="3992744"/>
            <a:ext cx="409901" cy="43437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00369FF2-2127-1FDF-DF2B-8B151AC9DAE5}"/>
              </a:ext>
            </a:extLst>
          </p:cNvPr>
          <p:cNvSpPr/>
          <p:nvPr/>
        </p:nvSpPr>
        <p:spPr>
          <a:xfrm>
            <a:off x="9212750" y="3017965"/>
            <a:ext cx="2656353" cy="9426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a:p>
            <a:pPr algn="ctr"/>
            <a:r>
              <a:rPr lang="en-IN" sz="1800" dirty="0"/>
              <a:t>Content of the output SAS code snippet</a:t>
            </a:r>
          </a:p>
          <a:p>
            <a:pPr algn="ctr"/>
            <a:endParaRPr lang="en-US" dirty="0"/>
          </a:p>
        </p:txBody>
      </p:sp>
      <p:sp>
        <p:nvSpPr>
          <p:cNvPr id="29" name="Speech Bubble: Rectangle 28">
            <a:extLst>
              <a:ext uri="{FF2B5EF4-FFF2-40B4-BE49-F238E27FC236}">
                <a16:creationId xmlns:a16="http://schemas.microsoft.com/office/drawing/2014/main" id="{E692A0BD-AB91-85FF-6407-5B0B8C943F69}"/>
              </a:ext>
            </a:extLst>
          </p:cNvPr>
          <p:cNvSpPr/>
          <p:nvPr/>
        </p:nvSpPr>
        <p:spPr>
          <a:xfrm>
            <a:off x="5524336" y="4698954"/>
            <a:ext cx="2795387" cy="918502"/>
          </a:xfrm>
          <a:prstGeom prst="wedgeRectCallout">
            <a:avLst>
              <a:gd name="adj1" fmla="val 22113"/>
              <a:gd name="adj2" fmla="val -12990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Parsed SAS code snippet generated from SAS input script in .txt format</a:t>
            </a:r>
          </a:p>
        </p:txBody>
      </p:sp>
      <p:sp>
        <p:nvSpPr>
          <p:cNvPr id="31" name="Title 1">
            <a:extLst>
              <a:ext uri="{FF2B5EF4-FFF2-40B4-BE49-F238E27FC236}">
                <a16:creationId xmlns:a16="http://schemas.microsoft.com/office/drawing/2014/main" id="{9E9C482D-B1CA-250D-0B54-DF1FEC50B981}"/>
              </a:ext>
            </a:extLst>
          </p:cNvPr>
          <p:cNvSpPr txBox="1">
            <a:spLocks/>
          </p:cNvSpPr>
          <p:nvPr/>
        </p:nvSpPr>
        <p:spPr>
          <a:xfrm>
            <a:off x="299094" y="176921"/>
            <a:ext cx="10562775" cy="492807"/>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b="1" dirty="0">
                <a:solidFill>
                  <a:schemeClr val="bg1"/>
                </a:solidFill>
                <a:latin typeface="Ubuntu" panose="020B0504030602030204" pitchFamily="34" charset="0"/>
              </a:rPr>
              <a:t>TECHNICAL FLOW OF THE CONTROL</a:t>
            </a:r>
            <a:endParaRPr lang="en-IN" b="1" dirty="0">
              <a:solidFill>
                <a:schemeClr val="bg1"/>
              </a:solidFill>
            </a:endParaRPr>
          </a:p>
        </p:txBody>
      </p:sp>
    </p:spTree>
    <p:extLst>
      <p:ext uri="{BB962C8B-B14F-4D97-AF65-F5344CB8AC3E}">
        <p14:creationId xmlns:p14="http://schemas.microsoft.com/office/powerpoint/2010/main" val="3412336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ACBC9A2-75A7-C8EF-68ED-531DF1C36A06}"/>
              </a:ext>
            </a:extLst>
          </p:cNvPr>
          <p:cNvSpPr/>
          <p:nvPr/>
        </p:nvSpPr>
        <p:spPr>
          <a:xfrm>
            <a:off x="242905" y="124086"/>
            <a:ext cx="2636929" cy="52755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dirty="0">
                <a:solidFill>
                  <a:schemeClr val="bg1"/>
                </a:solidFill>
                <a:latin typeface="Ubuntu" panose="020B0504030602030204" pitchFamily="34" charset="0"/>
              </a:rPr>
              <a:t>ACCELERATOR</a:t>
            </a:r>
            <a:endParaRPr lang="en-US" sz="2000" dirty="0">
              <a:solidFill>
                <a:schemeClr val="bg1"/>
              </a:solidFill>
              <a:latin typeface="Ubuntu" panose="020B0504030602030204" pitchFamily="34" charset="0"/>
            </a:endParaRPr>
          </a:p>
        </p:txBody>
      </p:sp>
      <p:pic>
        <p:nvPicPr>
          <p:cNvPr id="3" name="Picture 2">
            <a:extLst>
              <a:ext uri="{FF2B5EF4-FFF2-40B4-BE49-F238E27FC236}">
                <a16:creationId xmlns:a16="http://schemas.microsoft.com/office/drawing/2014/main" id="{D8D39470-8E3A-91BA-1E00-439A11FBDC10}"/>
              </a:ext>
            </a:extLst>
          </p:cNvPr>
          <p:cNvPicPr>
            <a:picLocks noChangeAspect="1"/>
          </p:cNvPicPr>
          <p:nvPr/>
        </p:nvPicPr>
        <p:blipFill>
          <a:blip r:embed="rId2"/>
          <a:stretch>
            <a:fillRect/>
          </a:stretch>
        </p:blipFill>
        <p:spPr>
          <a:xfrm>
            <a:off x="222036" y="1421303"/>
            <a:ext cx="3294096" cy="2471565"/>
          </a:xfrm>
          <a:prstGeom prst="rect">
            <a:avLst/>
          </a:prstGeom>
        </p:spPr>
      </p:pic>
      <p:pic>
        <p:nvPicPr>
          <p:cNvPr id="8" name="Picture 7">
            <a:extLst>
              <a:ext uri="{FF2B5EF4-FFF2-40B4-BE49-F238E27FC236}">
                <a16:creationId xmlns:a16="http://schemas.microsoft.com/office/drawing/2014/main" id="{6886570A-BAEB-FC0F-40AE-ED71E044E5D5}"/>
              </a:ext>
            </a:extLst>
          </p:cNvPr>
          <p:cNvPicPr>
            <a:picLocks noChangeAspect="1"/>
          </p:cNvPicPr>
          <p:nvPr/>
        </p:nvPicPr>
        <p:blipFill>
          <a:blip r:embed="rId3"/>
          <a:stretch>
            <a:fillRect/>
          </a:stretch>
        </p:blipFill>
        <p:spPr>
          <a:xfrm>
            <a:off x="4151703" y="1375188"/>
            <a:ext cx="2528472" cy="1900946"/>
          </a:xfrm>
          <a:prstGeom prst="rect">
            <a:avLst/>
          </a:prstGeom>
        </p:spPr>
      </p:pic>
      <p:pic>
        <p:nvPicPr>
          <p:cNvPr id="11" name="Picture 10">
            <a:extLst>
              <a:ext uri="{FF2B5EF4-FFF2-40B4-BE49-F238E27FC236}">
                <a16:creationId xmlns:a16="http://schemas.microsoft.com/office/drawing/2014/main" id="{3BD1B0A0-3117-8C2A-6E82-C260C37DBEDF}"/>
              </a:ext>
            </a:extLst>
          </p:cNvPr>
          <p:cNvPicPr>
            <a:picLocks noChangeAspect="1"/>
          </p:cNvPicPr>
          <p:nvPr/>
        </p:nvPicPr>
        <p:blipFill>
          <a:blip r:embed="rId4"/>
          <a:stretch>
            <a:fillRect/>
          </a:stretch>
        </p:blipFill>
        <p:spPr>
          <a:xfrm>
            <a:off x="201947" y="4027984"/>
            <a:ext cx="3294096" cy="2471565"/>
          </a:xfrm>
          <a:prstGeom prst="rect">
            <a:avLst/>
          </a:prstGeom>
        </p:spPr>
      </p:pic>
      <p:pic>
        <p:nvPicPr>
          <p:cNvPr id="13" name="Picture 12">
            <a:extLst>
              <a:ext uri="{FF2B5EF4-FFF2-40B4-BE49-F238E27FC236}">
                <a16:creationId xmlns:a16="http://schemas.microsoft.com/office/drawing/2014/main" id="{360FA241-823D-488B-DE9E-DB03A29F4680}"/>
              </a:ext>
            </a:extLst>
          </p:cNvPr>
          <p:cNvPicPr>
            <a:picLocks noChangeAspect="1"/>
          </p:cNvPicPr>
          <p:nvPr/>
        </p:nvPicPr>
        <p:blipFill>
          <a:blip r:embed="rId5"/>
          <a:stretch>
            <a:fillRect/>
          </a:stretch>
        </p:blipFill>
        <p:spPr>
          <a:xfrm>
            <a:off x="4151703" y="4512503"/>
            <a:ext cx="2528472" cy="1897116"/>
          </a:xfrm>
          <a:prstGeom prst="rect">
            <a:avLst/>
          </a:prstGeom>
        </p:spPr>
      </p:pic>
      <p:pic>
        <p:nvPicPr>
          <p:cNvPr id="15" name="Picture 14">
            <a:extLst>
              <a:ext uri="{FF2B5EF4-FFF2-40B4-BE49-F238E27FC236}">
                <a16:creationId xmlns:a16="http://schemas.microsoft.com/office/drawing/2014/main" id="{1B6AE0EA-80B2-F9B2-6ADF-899A00763D57}"/>
              </a:ext>
            </a:extLst>
          </p:cNvPr>
          <p:cNvPicPr>
            <a:picLocks noChangeAspect="1"/>
          </p:cNvPicPr>
          <p:nvPr/>
        </p:nvPicPr>
        <p:blipFill>
          <a:blip r:embed="rId6"/>
          <a:stretch>
            <a:fillRect/>
          </a:stretch>
        </p:blipFill>
        <p:spPr>
          <a:xfrm>
            <a:off x="6878081" y="2638096"/>
            <a:ext cx="5237839" cy="2625671"/>
          </a:xfrm>
          <a:prstGeom prst="rect">
            <a:avLst/>
          </a:prstGeom>
        </p:spPr>
      </p:pic>
      <p:sp>
        <p:nvSpPr>
          <p:cNvPr id="16" name="Rectangle 15">
            <a:extLst>
              <a:ext uri="{FF2B5EF4-FFF2-40B4-BE49-F238E27FC236}">
                <a16:creationId xmlns:a16="http://schemas.microsoft.com/office/drawing/2014/main" id="{35161E40-CC3C-A45A-725B-582A50DA2896}"/>
              </a:ext>
            </a:extLst>
          </p:cNvPr>
          <p:cNvSpPr/>
          <p:nvPr/>
        </p:nvSpPr>
        <p:spPr>
          <a:xfrm>
            <a:off x="7405705" y="137813"/>
            <a:ext cx="2636929" cy="52755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dirty="0">
                <a:solidFill>
                  <a:schemeClr val="bg1"/>
                </a:solidFill>
                <a:latin typeface="Ubuntu" panose="020B0504030602030204" pitchFamily="34" charset="0"/>
              </a:rPr>
              <a:t>CODE ASSEMBLING</a:t>
            </a:r>
            <a:endParaRPr lang="en-US" sz="2000" dirty="0">
              <a:solidFill>
                <a:schemeClr val="bg1"/>
              </a:solidFill>
              <a:latin typeface="Ubuntu" panose="020B0504030602030204" pitchFamily="34" charset="0"/>
            </a:endParaRPr>
          </a:p>
        </p:txBody>
      </p:sp>
      <p:cxnSp>
        <p:nvCxnSpPr>
          <p:cNvPr id="22" name="Connector: Elbow 21">
            <a:extLst>
              <a:ext uri="{FF2B5EF4-FFF2-40B4-BE49-F238E27FC236}">
                <a16:creationId xmlns:a16="http://schemas.microsoft.com/office/drawing/2014/main" id="{902DE6DB-AAE7-B805-B35A-8A26E9E9CAA4}"/>
              </a:ext>
            </a:extLst>
          </p:cNvPr>
          <p:cNvCxnSpPr>
            <a:cxnSpLocks/>
            <a:stCxn id="8" idx="3"/>
            <a:endCxn id="15" idx="0"/>
          </p:cNvCxnSpPr>
          <p:nvPr/>
        </p:nvCxnSpPr>
        <p:spPr>
          <a:xfrm>
            <a:off x="6680175" y="2325661"/>
            <a:ext cx="2816826" cy="312435"/>
          </a:xfrm>
          <a:prstGeom prst="bentConnector2">
            <a:avLst/>
          </a:prstGeom>
          <a:ln>
            <a:solidFill>
              <a:schemeClr val="bg1"/>
            </a:solidFill>
            <a:tailEnd type="triangle"/>
          </a:ln>
        </p:spPr>
        <p:style>
          <a:lnRef idx="3">
            <a:schemeClr val="dk1"/>
          </a:lnRef>
          <a:fillRef idx="0">
            <a:schemeClr val="dk1"/>
          </a:fillRef>
          <a:effectRef idx="2">
            <a:schemeClr val="dk1"/>
          </a:effectRef>
          <a:fontRef idx="minor">
            <a:schemeClr val="tx1"/>
          </a:fontRef>
        </p:style>
      </p:cxnSp>
      <p:cxnSp>
        <p:nvCxnSpPr>
          <p:cNvPr id="24" name="Connector: Elbow 23">
            <a:extLst>
              <a:ext uri="{FF2B5EF4-FFF2-40B4-BE49-F238E27FC236}">
                <a16:creationId xmlns:a16="http://schemas.microsoft.com/office/drawing/2014/main" id="{6C7226FF-A551-3F0C-FC48-6E975BD1E674}"/>
              </a:ext>
            </a:extLst>
          </p:cNvPr>
          <p:cNvCxnSpPr>
            <a:cxnSpLocks/>
            <a:endCxn id="15" idx="2"/>
          </p:cNvCxnSpPr>
          <p:nvPr/>
        </p:nvCxnSpPr>
        <p:spPr>
          <a:xfrm flipV="1">
            <a:off x="6680175" y="5263767"/>
            <a:ext cx="2816826" cy="483917"/>
          </a:xfrm>
          <a:prstGeom prst="bentConnector2">
            <a:avLst/>
          </a:prstGeom>
          <a:ln>
            <a:solidFill>
              <a:schemeClr val="bg1"/>
            </a:solidFill>
            <a:tailEnd type="triangle"/>
          </a:ln>
        </p:spPr>
        <p:style>
          <a:lnRef idx="3">
            <a:schemeClr val="dk1"/>
          </a:lnRef>
          <a:fillRef idx="0">
            <a:schemeClr val="dk1"/>
          </a:fillRef>
          <a:effectRef idx="2">
            <a:schemeClr val="dk1"/>
          </a:effectRef>
          <a:fontRef idx="minor">
            <a:schemeClr val="tx1"/>
          </a:fontRef>
        </p:style>
      </p:cxnSp>
      <p:sp>
        <p:nvSpPr>
          <p:cNvPr id="28" name="Speech Bubble: Rectangle 27">
            <a:extLst>
              <a:ext uri="{FF2B5EF4-FFF2-40B4-BE49-F238E27FC236}">
                <a16:creationId xmlns:a16="http://schemas.microsoft.com/office/drawing/2014/main" id="{81DF0851-8DFE-1274-D06D-57C34C40A463}"/>
              </a:ext>
            </a:extLst>
          </p:cNvPr>
          <p:cNvSpPr/>
          <p:nvPr/>
        </p:nvSpPr>
        <p:spPr>
          <a:xfrm>
            <a:off x="5299859" y="133535"/>
            <a:ext cx="1943647" cy="918502"/>
          </a:xfrm>
          <a:prstGeom prst="wedgeRectCallout">
            <a:avLst>
              <a:gd name="adj1" fmla="val -40154"/>
              <a:gd name="adj2" fmla="val 9322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err="1"/>
              <a:t>PySpark</a:t>
            </a:r>
            <a:r>
              <a:rPr lang="en-IN" sz="1600" dirty="0"/>
              <a:t> conversion of input code snippet </a:t>
            </a:r>
          </a:p>
        </p:txBody>
      </p:sp>
      <p:sp>
        <p:nvSpPr>
          <p:cNvPr id="30" name="Speech Bubble: Rectangle 29">
            <a:extLst>
              <a:ext uri="{FF2B5EF4-FFF2-40B4-BE49-F238E27FC236}">
                <a16:creationId xmlns:a16="http://schemas.microsoft.com/office/drawing/2014/main" id="{9DC2E73F-432C-36EF-1006-11E16079E6D7}"/>
              </a:ext>
            </a:extLst>
          </p:cNvPr>
          <p:cNvSpPr/>
          <p:nvPr/>
        </p:nvSpPr>
        <p:spPr>
          <a:xfrm>
            <a:off x="10132572" y="1472600"/>
            <a:ext cx="1943647" cy="918502"/>
          </a:xfrm>
          <a:prstGeom prst="wedgeRectCallout">
            <a:avLst>
              <a:gd name="adj1" fmla="val -68813"/>
              <a:gd name="adj2" fmla="val 10581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Equivalent </a:t>
            </a:r>
            <a:r>
              <a:rPr lang="en-IN" sz="1600" dirty="0" err="1"/>
              <a:t>PySpark</a:t>
            </a:r>
            <a:r>
              <a:rPr lang="en-IN" sz="1600" dirty="0"/>
              <a:t> script of the input SAS script </a:t>
            </a:r>
          </a:p>
        </p:txBody>
      </p:sp>
      <p:cxnSp>
        <p:nvCxnSpPr>
          <p:cNvPr id="32" name="Straight Connector 31">
            <a:extLst>
              <a:ext uri="{FF2B5EF4-FFF2-40B4-BE49-F238E27FC236}">
                <a16:creationId xmlns:a16="http://schemas.microsoft.com/office/drawing/2014/main" id="{5655604A-CE12-97E5-D811-D0CF73D10612}"/>
              </a:ext>
            </a:extLst>
          </p:cNvPr>
          <p:cNvCxnSpPr>
            <a:cxnSpLocks/>
          </p:cNvCxnSpPr>
          <p:nvPr/>
        </p:nvCxnSpPr>
        <p:spPr>
          <a:xfrm>
            <a:off x="5192111" y="0"/>
            <a:ext cx="0" cy="6721365"/>
          </a:xfrm>
          <a:prstGeom prst="line">
            <a:avLst/>
          </a:prstGeom>
          <a:ln>
            <a:solidFill>
              <a:schemeClr val="bg1"/>
            </a:solidFill>
            <a:prstDash val="lgDashDotDot"/>
          </a:ln>
        </p:spPr>
        <p:style>
          <a:lnRef idx="3">
            <a:schemeClr val="dk1"/>
          </a:lnRef>
          <a:fillRef idx="0">
            <a:schemeClr val="dk1"/>
          </a:fillRef>
          <a:effectRef idx="2">
            <a:schemeClr val="dk1"/>
          </a:effectRef>
          <a:fontRef idx="minor">
            <a:schemeClr val="tx1"/>
          </a:fontRef>
        </p:style>
      </p:cxnSp>
      <p:sp>
        <p:nvSpPr>
          <p:cNvPr id="44" name="Arrow: Up 43">
            <a:extLst>
              <a:ext uri="{FF2B5EF4-FFF2-40B4-BE49-F238E27FC236}">
                <a16:creationId xmlns:a16="http://schemas.microsoft.com/office/drawing/2014/main" id="{A5010761-C9C7-DAA1-3FE1-BB26640CB09B}"/>
              </a:ext>
            </a:extLst>
          </p:cNvPr>
          <p:cNvSpPr/>
          <p:nvPr/>
        </p:nvSpPr>
        <p:spPr>
          <a:xfrm rot="5400000">
            <a:off x="3375202" y="1765740"/>
            <a:ext cx="840793" cy="625364"/>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Arrow: Up 44">
            <a:extLst>
              <a:ext uri="{FF2B5EF4-FFF2-40B4-BE49-F238E27FC236}">
                <a16:creationId xmlns:a16="http://schemas.microsoft.com/office/drawing/2014/main" id="{92E6A1FB-55F6-FCD3-74FF-AB02275A2A2F}"/>
              </a:ext>
            </a:extLst>
          </p:cNvPr>
          <p:cNvSpPr/>
          <p:nvPr/>
        </p:nvSpPr>
        <p:spPr>
          <a:xfrm rot="5400000">
            <a:off x="3398427" y="5193043"/>
            <a:ext cx="840793" cy="625364"/>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Speech Bubble: Rectangle 47">
            <a:extLst>
              <a:ext uri="{FF2B5EF4-FFF2-40B4-BE49-F238E27FC236}">
                <a16:creationId xmlns:a16="http://schemas.microsoft.com/office/drawing/2014/main" id="{D13BFC08-3677-6C88-984E-BBE2BC4B857A}"/>
              </a:ext>
            </a:extLst>
          </p:cNvPr>
          <p:cNvSpPr/>
          <p:nvPr/>
        </p:nvSpPr>
        <p:spPr>
          <a:xfrm>
            <a:off x="3004849" y="323282"/>
            <a:ext cx="1943647" cy="918502"/>
          </a:xfrm>
          <a:prstGeom prst="wedgeRectCallout">
            <a:avLst>
              <a:gd name="adj1" fmla="val -83414"/>
              <a:gd name="adj2" fmla="val 9895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Content of the parsed SAS code snippet</a:t>
            </a:r>
          </a:p>
        </p:txBody>
      </p:sp>
    </p:spTree>
    <p:extLst>
      <p:ext uri="{BB962C8B-B14F-4D97-AF65-F5344CB8AC3E}">
        <p14:creationId xmlns:p14="http://schemas.microsoft.com/office/powerpoint/2010/main" val="16436339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ACBC9A2-75A7-C8EF-68ED-531DF1C36A06}"/>
              </a:ext>
            </a:extLst>
          </p:cNvPr>
          <p:cNvSpPr/>
          <p:nvPr/>
        </p:nvSpPr>
        <p:spPr>
          <a:xfrm>
            <a:off x="242905" y="260720"/>
            <a:ext cx="2132433" cy="52755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dirty="0">
                <a:solidFill>
                  <a:schemeClr val="bg1"/>
                </a:solidFill>
                <a:latin typeface="Ubuntu" panose="020B0504030602030204" pitchFamily="34" charset="0"/>
              </a:rPr>
              <a:t>RECON</a:t>
            </a:r>
            <a:endParaRPr lang="en-US" sz="2000" dirty="0">
              <a:solidFill>
                <a:schemeClr val="bg1"/>
              </a:solidFill>
              <a:latin typeface="Ubuntu" panose="020B0504030602030204" pitchFamily="34" charset="0"/>
            </a:endParaRPr>
          </a:p>
        </p:txBody>
      </p:sp>
      <p:pic>
        <p:nvPicPr>
          <p:cNvPr id="2" name="Picture 1">
            <a:extLst>
              <a:ext uri="{FF2B5EF4-FFF2-40B4-BE49-F238E27FC236}">
                <a16:creationId xmlns:a16="http://schemas.microsoft.com/office/drawing/2014/main" id="{AE8D4824-135E-4EC0-36B8-6A4713955C13}"/>
              </a:ext>
            </a:extLst>
          </p:cNvPr>
          <p:cNvPicPr>
            <a:picLocks noChangeAspect="1"/>
          </p:cNvPicPr>
          <p:nvPr/>
        </p:nvPicPr>
        <p:blipFill rotWithShape="1">
          <a:blip r:embed="rId2"/>
          <a:srcRect l="-1" t="8124" r="-521"/>
          <a:stretch/>
        </p:blipFill>
        <p:spPr>
          <a:xfrm>
            <a:off x="242904" y="1788982"/>
            <a:ext cx="2636442" cy="1732899"/>
          </a:xfrm>
          <a:prstGeom prst="rect">
            <a:avLst/>
          </a:prstGeom>
        </p:spPr>
      </p:pic>
      <p:pic>
        <p:nvPicPr>
          <p:cNvPr id="3" name="Picture 2">
            <a:extLst>
              <a:ext uri="{FF2B5EF4-FFF2-40B4-BE49-F238E27FC236}">
                <a16:creationId xmlns:a16="http://schemas.microsoft.com/office/drawing/2014/main" id="{F0DF46A5-C888-B0E5-38AA-41B6E995E3AD}"/>
              </a:ext>
            </a:extLst>
          </p:cNvPr>
          <p:cNvPicPr>
            <a:picLocks noChangeAspect="1"/>
          </p:cNvPicPr>
          <p:nvPr/>
        </p:nvPicPr>
        <p:blipFill>
          <a:blip r:embed="rId3"/>
          <a:stretch>
            <a:fillRect/>
          </a:stretch>
        </p:blipFill>
        <p:spPr>
          <a:xfrm>
            <a:off x="240981" y="3834474"/>
            <a:ext cx="2636442" cy="1732899"/>
          </a:xfrm>
          <a:prstGeom prst="rect">
            <a:avLst/>
          </a:prstGeom>
        </p:spPr>
      </p:pic>
      <p:pic>
        <p:nvPicPr>
          <p:cNvPr id="4" name="Picture 3">
            <a:extLst>
              <a:ext uri="{FF2B5EF4-FFF2-40B4-BE49-F238E27FC236}">
                <a16:creationId xmlns:a16="http://schemas.microsoft.com/office/drawing/2014/main" id="{9CFC278E-973E-9AB7-9822-69B2353412F6}"/>
              </a:ext>
            </a:extLst>
          </p:cNvPr>
          <p:cNvPicPr>
            <a:picLocks noChangeAspect="1"/>
          </p:cNvPicPr>
          <p:nvPr/>
        </p:nvPicPr>
        <p:blipFill>
          <a:blip r:embed="rId4"/>
          <a:stretch>
            <a:fillRect/>
          </a:stretch>
        </p:blipFill>
        <p:spPr>
          <a:xfrm>
            <a:off x="3326827" y="1802695"/>
            <a:ext cx="2636442" cy="1756168"/>
          </a:xfrm>
          <a:prstGeom prst="rect">
            <a:avLst/>
          </a:prstGeom>
        </p:spPr>
      </p:pic>
      <p:pic>
        <p:nvPicPr>
          <p:cNvPr id="7" name="Picture 6">
            <a:extLst>
              <a:ext uri="{FF2B5EF4-FFF2-40B4-BE49-F238E27FC236}">
                <a16:creationId xmlns:a16="http://schemas.microsoft.com/office/drawing/2014/main" id="{FB2E6BFC-8769-D851-7FFD-2151848E9871}"/>
              </a:ext>
            </a:extLst>
          </p:cNvPr>
          <p:cNvPicPr>
            <a:picLocks noChangeAspect="1"/>
          </p:cNvPicPr>
          <p:nvPr/>
        </p:nvPicPr>
        <p:blipFill>
          <a:blip r:embed="rId5"/>
          <a:stretch>
            <a:fillRect/>
          </a:stretch>
        </p:blipFill>
        <p:spPr>
          <a:xfrm>
            <a:off x="3343843" y="3822839"/>
            <a:ext cx="2636442" cy="1756168"/>
          </a:xfrm>
          <a:prstGeom prst="rect">
            <a:avLst/>
          </a:prstGeom>
        </p:spPr>
      </p:pic>
      <p:pic>
        <p:nvPicPr>
          <p:cNvPr id="9" name="Picture 8">
            <a:extLst>
              <a:ext uri="{FF2B5EF4-FFF2-40B4-BE49-F238E27FC236}">
                <a16:creationId xmlns:a16="http://schemas.microsoft.com/office/drawing/2014/main" id="{C2BA62AD-5059-0A01-662D-3BE8D1E6D660}"/>
              </a:ext>
            </a:extLst>
          </p:cNvPr>
          <p:cNvPicPr>
            <a:picLocks noChangeAspect="1"/>
          </p:cNvPicPr>
          <p:nvPr/>
        </p:nvPicPr>
        <p:blipFill>
          <a:blip r:embed="rId6"/>
          <a:stretch>
            <a:fillRect/>
          </a:stretch>
        </p:blipFill>
        <p:spPr>
          <a:xfrm>
            <a:off x="6571642" y="2967278"/>
            <a:ext cx="2055794" cy="1596949"/>
          </a:xfrm>
          <a:prstGeom prst="rect">
            <a:avLst/>
          </a:prstGeom>
        </p:spPr>
      </p:pic>
      <p:pic>
        <p:nvPicPr>
          <p:cNvPr id="11" name="Picture 10">
            <a:extLst>
              <a:ext uri="{FF2B5EF4-FFF2-40B4-BE49-F238E27FC236}">
                <a16:creationId xmlns:a16="http://schemas.microsoft.com/office/drawing/2014/main" id="{2FC1D331-4A36-FD4C-5F83-F8DCCACC24D9}"/>
              </a:ext>
            </a:extLst>
          </p:cNvPr>
          <p:cNvPicPr>
            <a:picLocks noChangeAspect="1"/>
          </p:cNvPicPr>
          <p:nvPr/>
        </p:nvPicPr>
        <p:blipFill rotWithShape="1">
          <a:blip r:embed="rId7"/>
          <a:srcRect t="373" r="175"/>
          <a:stretch/>
        </p:blipFill>
        <p:spPr>
          <a:xfrm>
            <a:off x="9212381" y="2967278"/>
            <a:ext cx="2793599" cy="1596949"/>
          </a:xfrm>
          <a:prstGeom prst="rect">
            <a:avLst/>
          </a:prstGeom>
        </p:spPr>
      </p:pic>
      <p:cxnSp>
        <p:nvCxnSpPr>
          <p:cNvPr id="34" name="Connector: Elbow 33">
            <a:extLst>
              <a:ext uri="{FF2B5EF4-FFF2-40B4-BE49-F238E27FC236}">
                <a16:creationId xmlns:a16="http://schemas.microsoft.com/office/drawing/2014/main" id="{2BACB484-2780-8B2F-6543-2354E0209480}"/>
              </a:ext>
            </a:extLst>
          </p:cNvPr>
          <p:cNvCxnSpPr>
            <a:endCxn id="9" idx="0"/>
          </p:cNvCxnSpPr>
          <p:nvPr/>
        </p:nvCxnSpPr>
        <p:spPr>
          <a:xfrm>
            <a:off x="5986697" y="2048776"/>
            <a:ext cx="1612842" cy="918502"/>
          </a:xfrm>
          <a:prstGeom prst="bentConnector2">
            <a:avLst/>
          </a:prstGeom>
          <a:ln>
            <a:solidFill>
              <a:schemeClr val="bg1"/>
            </a:solidFill>
            <a:tailEnd type="triangle"/>
          </a:ln>
        </p:spPr>
        <p:style>
          <a:lnRef idx="3">
            <a:schemeClr val="dk1"/>
          </a:lnRef>
          <a:fillRef idx="0">
            <a:schemeClr val="dk1"/>
          </a:fillRef>
          <a:effectRef idx="2">
            <a:schemeClr val="dk1"/>
          </a:effectRef>
          <a:fontRef idx="minor">
            <a:schemeClr val="tx1"/>
          </a:fontRef>
        </p:style>
      </p:cxnSp>
      <p:cxnSp>
        <p:nvCxnSpPr>
          <p:cNvPr id="36" name="Connector: Elbow 35">
            <a:extLst>
              <a:ext uri="{FF2B5EF4-FFF2-40B4-BE49-F238E27FC236}">
                <a16:creationId xmlns:a16="http://schemas.microsoft.com/office/drawing/2014/main" id="{712DC88D-B4C4-30DC-585B-F082EE2FCACA}"/>
              </a:ext>
            </a:extLst>
          </p:cNvPr>
          <p:cNvCxnSpPr>
            <a:endCxn id="9" idx="2"/>
          </p:cNvCxnSpPr>
          <p:nvPr/>
        </p:nvCxnSpPr>
        <p:spPr>
          <a:xfrm flipV="1">
            <a:off x="5986697" y="4564227"/>
            <a:ext cx="1612842" cy="711225"/>
          </a:xfrm>
          <a:prstGeom prst="bentConnector2">
            <a:avLst/>
          </a:prstGeom>
          <a:ln>
            <a:solidFill>
              <a:schemeClr val="bg1"/>
            </a:solidFill>
            <a:tailEnd type="triangle"/>
          </a:ln>
        </p:spPr>
        <p:style>
          <a:lnRef idx="3">
            <a:schemeClr val="dk1"/>
          </a:lnRef>
          <a:fillRef idx="0">
            <a:schemeClr val="dk1"/>
          </a:fillRef>
          <a:effectRef idx="2">
            <a:schemeClr val="dk1"/>
          </a:effectRef>
          <a:fontRef idx="minor">
            <a:schemeClr val="tx1"/>
          </a:fontRef>
        </p:style>
      </p:cxnSp>
      <p:cxnSp>
        <p:nvCxnSpPr>
          <p:cNvPr id="38" name="Straight Arrow Connector 37">
            <a:extLst>
              <a:ext uri="{FF2B5EF4-FFF2-40B4-BE49-F238E27FC236}">
                <a16:creationId xmlns:a16="http://schemas.microsoft.com/office/drawing/2014/main" id="{C5265110-7B50-6180-705A-6377F4E1B335}"/>
              </a:ext>
            </a:extLst>
          </p:cNvPr>
          <p:cNvCxnSpPr>
            <a:stCxn id="9" idx="3"/>
            <a:endCxn id="11" idx="1"/>
          </p:cNvCxnSpPr>
          <p:nvPr/>
        </p:nvCxnSpPr>
        <p:spPr>
          <a:xfrm>
            <a:off x="8627436" y="3765753"/>
            <a:ext cx="584945" cy="0"/>
          </a:xfrm>
          <a:prstGeom prst="straightConnector1">
            <a:avLst/>
          </a:prstGeom>
          <a:ln>
            <a:solidFill>
              <a:schemeClr val="bg1"/>
            </a:solidFill>
            <a:tailEnd type="triangle"/>
          </a:ln>
        </p:spPr>
        <p:style>
          <a:lnRef idx="3">
            <a:schemeClr val="dk1"/>
          </a:lnRef>
          <a:fillRef idx="0">
            <a:schemeClr val="dk1"/>
          </a:fillRef>
          <a:effectRef idx="2">
            <a:schemeClr val="dk1"/>
          </a:effectRef>
          <a:fontRef idx="minor">
            <a:schemeClr val="tx1"/>
          </a:fontRef>
        </p:style>
      </p:cxnSp>
      <p:sp>
        <p:nvSpPr>
          <p:cNvPr id="46" name="Speech Bubble: Rectangle 45">
            <a:extLst>
              <a:ext uri="{FF2B5EF4-FFF2-40B4-BE49-F238E27FC236}">
                <a16:creationId xmlns:a16="http://schemas.microsoft.com/office/drawing/2014/main" id="{F44E9F23-DD91-C69D-701D-151199C78DB6}"/>
              </a:ext>
            </a:extLst>
          </p:cNvPr>
          <p:cNvSpPr/>
          <p:nvPr/>
        </p:nvSpPr>
        <p:spPr>
          <a:xfrm>
            <a:off x="5646426" y="512397"/>
            <a:ext cx="1448057" cy="918502"/>
          </a:xfrm>
          <a:prstGeom prst="wedgeRectCallout">
            <a:avLst>
              <a:gd name="adj1" fmla="val -85776"/>
              <a:gd name="adj2" fmla="val 10810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Content of the SAS script output file.</a:t>
            </a:r>
          </a:p>
        </p:txBody>
      </p:sp>
      <p:sp>
        <p:nvSpPr>
          <p:cNvPr id="48" name="Speech Bubble: Rectangle 47">
            <a:extLst>
              <a:ext uri="{FF2B5EF4-FFF2-40B4-BE49-F238E27FC236}">
                <a16:creationId xmlns:a16="http://schemas.microsoft.com/office/drawing/2014/main" id="{B89350DA-0DF2-F7CF-407C-F51C2F70A0A2}"/>
              </a:ext>
            </a:extLst>
          </p:cNvPr>
          <p:cNvSpPr/>
          <p:nvPr/>
        </p:nvSpPr>
        <p:spPr>
          <a:xfrm>
            <a:off x="5646426" y="5756559"/>
            <a:ext cx="1448057" cy="918502"/>
          </a:xfrm>
          <a:prstGeom prst="wedgeRectCallout">
            <a:avLst>
              <a:gd name="adj1" fmla="val -106099"/>
              <a:gd name="adj2" fmla="val -10702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Content of the </a:t>
            </a:r>
            <a:r>
              <a:rPr lang="en-IN" sz="1600" dirty="0" err="1"/>
              <a:t>pyspark</a:t>
            </a:r>
            <a:r>
              <a:rPr lang="en-IN" sz="1600" dirty="0"/>
              <a:t> script output file.</a:t>
            </a:r>
          </a:p>
        </p:txBody>
      </p:sp>
      <p:sp>
        <p:nvSpPr>
          <p:cNvPr id="49" name="Speech Bubble: Rectangle 48">
            <a:extLst>
              <a:ext uri="{FF2B5EF4-FFF2-40B4-BE49-F238E27FC236}">
                <a16:creationId xmlns:a16="http://schemas.microsoft.com/office/drawing/2014/main" id="{34D3838F-F3C1-3F05-A352-5B5E38C8CBA4}"/>
              </a:ext>
            </a:extLst>
          </p:cNvPr>
          <p:cNvSpPr/>
          <p:nvPr/>
        </p:nvSpPr>
        <p:spPr>
          <a:xfrm>
            <a:off x="8106962" y="1528341"/>
            <a:ext cx="1255255" cy="1261385"/>
          </a:xfrm>
          <a:prstGeom prst="wedgeRectCallout">
            <a:avLst>
              <a:gd name="adj1" fmla="val -91571"/>
              <a:gd name="adj2" fmla="val 6954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RECON Tool output in .csv format</a:t>
            </a:r>
          </a:p>
        </p:txBody>
      </p:sp>
      <p:sp>
        <p:nvSpPr>
          <p:cNvPr id="51" name="Speech Bubble: Rectangle 50">
            <a:extLst>
              <a:ext uri="{FF2B5EF4-FFF2-40B4-BE49-F238E27FC236}">
                <a16:creationId xmlns:a16="http://schemas.microsoft.com/office/drawing/2014/main" id="{0A1BDF37-FFB6-95D3-387E-0761B72CAFD1}"/>
              </a:ext>
            </a:extLst>
          </p:cNvPr>
          <p:cNvSpPr/>
          <p:nvPr/>
        </p:nvSpPr>
        <p:spPr>
          <a:xfrm>
            <a:off x="9070428" y="5027015"/>
            <a:ext cx="2961009" cy="1300213"/>
          </a:xfrm>
          <a:prstGeom prst="wedgeRectCallout">
            <a:avLst>
              <a:gd name="adj1" fmla="val 14786"/>
              <a:gd name="adj2" fmla="val -8911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RECON Tool output content</a:t>
            </a:r>
          </a:p>
          <a:p>
            <a:pPr marL="285750" indent="-285750">
              <a:buFont typeface="Arial" panose="020B0604020202020204" pitchFamily="34" charset="0"/>
              <a:buChar char="•"/>
            </a:pPr>
            <a:r>
              <a:rPr lang="en-IN" sz="1600" dirty="0"/>
              <a:t>Record1 - Both results matches</a:t>
            </a:r>
          </a:p>
          <a:p>
            <a:pPr marL="285750" indent="-285750">
              <a:buFont typeface="Arial" panose="020B0604020202020204" pitchFamily="34" charset="0"/>
              <a:buChar char="•"/>
            </a:pPr>
            <a:r>
              <a:rPr lang="en-IN" sz="1600" dirty="0"/>
              <a:t>Record2 - Result not match</a:t>
            </a:r>
          </a:p>
        </p:txBody>
      </p:sp>
      <p:sp>
        <p:nvSpPr>
          <p:cNvPr id="66" name="Arrow: Up 65">
            <a:extLst>
              <a:ext uri="{FF2B5EF4-FFF2-40B4-BE49-F238E27FC236}">
                <a16:creationId xmlns:a16="http://schemas.microsoft.com/office/drawing/2014/main" id="{B0C4E880-951D-06E8-A16B-20DA452B713D}"/>
              </a:ext>
            </a:extLst>
          </p:cNvPr>
          <p:cNvSpPr/>
          <p:nvPr/>
        </p:nvSpPr>
        <p:spPr>
          <a:xfrm rot="5400000">
            <a:off x="2593748" y="2457183"/>
            <a:ext cx="840793" cy="625364"/>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Arrow: Up 66">
            <a:extLst>
              <a:ext uri="{FF2B5EF4-FFF2-40B4-BE49-F238E27FC236}">
                <a16:creationId xmlns:a16="http://schemas.microsoft.com/office/drawing/2014/main" id="{272B0E59-4DA1-0C27-3EA0-CD5BE2BDD753}"/>
              </a:ext>
            </a:extLst>
          </p:cNvPr>
          <p:cNvSpPr/>
          <p:nvPr/>
        </p:nvSpPr>
        <p:spPr>
          <a:xfrm rot="5400000">
            <a:off x="2567106" y="4388241"/>
            <a:ext cx="840793" cy="625364"/>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Speech Bubble: Rectangle 67">
            <a:extLst>
              <a:ext uri="{FF2B5EF4-FFF2-40B4-BE49-F238E27FC236}">
                <a16:creationId xmlns:a16="http://schemas.microsoft.com/office/drawing/2014/main" id="{209B0766-1232-198D-DB03-38CB475A0726}"/>
              </a:ext>
            </a:extLst>
          </p:cNvPr>
          <p:cNvSpPr/>
          <p:nvPr/>
        </p:nvSpPr>
        <p:spPr>
          <a:xfrm>
            <a:off x="2758324" y="524498"/>
            <a:ext cx="2132433" cy="958679"/>
          </a:xfrm>
          <a:prstGeom prst="wedgeRectCallout">
            <a:avLst>
              <a:gd name="adj1" fmla="val -68829"/>
              <a:gd name="adj2" fmla="val 9412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Output  generated by SAS script file in .csv format</a:t>
            </a:r>
          </a:p>
        </p:txBody>
      </p:sp>
    </p:spTree>
    <p:extLst>
      <p:ext uri="{BB962C8B-B14F-4D97-AF65-F5344CB8AC3E}">
        <p14:creationId xmlns:p14="http://schemas.microsoft.com/office/powerpoint/2010/main" val="12714124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9E9C482D-B1CA-250D-0B54-DF1FEC50B981}"/>
              </a:ext>
            </a:extLst>
          </p:cNvPr>
          <p:cNvSpPr txBox="1">
            <a:spLocks/>
          </p:cNvSpPr>
          <p:nvPr/>
        </p:nvSpPr>
        <p:spPr>
          <a:xfrm>
            <a:off x="702416" y="754427"/>
            <a:ext cx="6206241" cy="492807"/>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b="1" dirty="0">
                <a:solidFill>
                  <a:schemeClr val="bg1"/>
                </a:solidFill>
                <a:latin typeface="Ubuntu" panose="020B0504030602030204" pitchFamily="34" charset="0"/>
              </a:rPr>
              <a:t>INFRASTRUCTURAL REQUIREMENT</a:t>
            </a:r>
            <a:endParaRPr lang="en-IN" b="1" dirty="0">
              <a:solidFill>
                <a:schemeClr val="bg1"/>
              </a:solidFill>
            </a:endParaRPr>
          </a:p>
        </p:txBody>
      </p:sp>
      <p:sp>
        <p:nvSpPr>
          <p:cNvPr id="32" name="Plus 7">
            <a:extLst>
              <a:ext uri="{FF2B5EF4-FFF2-40B4-BE49-F238E27FC236}">
                <a16:creationId xmlns:a16="http://schemas.microsoft.com/office/drawing/2014/main" id="{F2C679EA-6F3F-10AF-B322-DD51A400C618}"/>
              </a:ext>
            </a:extLst>
          </p:cNvPr>
          <p:cNvSpPr/>
          <p:nvPr/>
        </p:nvSpPr>
        <p:spPr>
          <a:xfrm>
            <a:off x="2997320" y="2893613"/>
            <a:ext cx="1062038" cy="1070769"/>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white"/>
              </a:solidFill>
              <a:effectLst/>
              <a:uLnTx/>
              <a:uFillTx/>
              <a:latin typeface="Ubuntu"/>
              <a:ea typeface="+mn-ea"/>
              <a:cs typeface="+mn-cs"/>
            </a:endParaRPr>
          </a:p>
        </p:txBody>
      </p:sp>
      <p:sp>
        <p:nvSpPr>
          <p:cNvPr id="35" name="TextBox 34">
            <a:extLst>
              <a:ext uri="{FF2B5EF4-FFF2-40B4-BE49-F238E27FC236}">
                <a16:creationId xmlns:a16="http://schemas.microsoft.com/office/drawing/2014/main" id="{EBE4F065-7F78-A8C2-9BA6-C0D21A8F7CAD}"/>
              </a:ext>
            </a:extLst>
          </p:cNvPr>
          <p:cNvSpPr txBox="1"/>
          <p:nvPr/>
        </p:nvSpPr>
        <p:spPr>
          <a:xfrm>
            <a:off x="702416" y="5372592"/>
            <a:ext cx="2060155" cy="369332"/>
          </a:xfrm>
          <a:prstGeom prst="rect">
            <a:avLst/>
          </a:prstGeom>
          <a:noFill/>
          <a:ln>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ASSESSMENT </a:t>
            </a:r>
          </a:p>
        </p:txBody>
      </p:sp>
      <p:sp>
        <p:nvSpPr>
          <p:cNvPr id="36" name="TextBox 35">
            <a:extLst>
              <a:ext uri="{FF2B5EF4-FFF2-40B4-BE49-F238E27FC236}">
                <a16:creationId xmlns:a16="http://schemas.microsoft.com/office/drawing/2014/main" id="{382975F0-E670-9EAA-AD92-C3E99592E151}"/>
              </a:ext>
            </a:extLst>
          </p:cNvPr>
          <p:cNvSpPr txBox="1"/>
          <p:nvPr/>
        </p:nvSpPr>
        <p:spPr>
          <a:xfrm>
            <a:off x="4281282" y="5345411"/>
            <a:ext cx="2060155" cy="369332"/>
          </a:xfrm>
          <a:prstGeom prst="rect">
            <a:avLst/>
          </a:prstGeom>
          <a:noFill/>
          <a:ln>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chemeClr val="bg1"/>
                </a:solidFill>
                <a:effectLst/>
                <a:uLnTx/>
                <a:uFillTx/>
                <a:latin typeface="Ubuntu"/>
                <a:ea typeface="+mn-ea"/>
                <a:cs typeface="+mn-cs"/>
              </a:rPr>
              <a:t>POC </a:t>
            </a:r>
          </a:p>
        </p:txBody>
      </p:sp>
      <p:sp>
        <p:nvSpPr>
          <p:cNvPr id="27" name="Rectangle: Rounded Corners 26">
            <a:extLst>
              <a:ext uri="{FF2B5EF4-FFF2-40B4-BE49-F238E27FC236}">
                <a16:creationId xmlns:a16="http://schemas.microsoft.com/office/drawing/2014/main" id="{62664B7C-2E30-D4A8-5415-D99D6A8CCC01}"/>
              </a:ext>
            </a:extLst>
          </p:cNvPr>
          <p:cNvSpPr/>
          <p:nvPr/>
        </p:nvSpPr>
        <p:spPr>
          <a:xfrm>
            <a:off x="399575" y="1578971"/>
            <a:ext cx="2665839" cy="3700057"/>
          </a:xfrm>
          <a:prstGeom prst="roundRect">
            <a:avLst>
              <a:gd name="adj" fmla="val 6846"/>
            </a:avLst>
          </a:prstGeom>
          <a:solidFill>
            <a:srgbClr val="D5E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err="1">
              <a:ln>
                <a:noFill/>
              </a:ln>
              <a:solidFill>
                <a:prstClr val="white"/>
              </a:solidFill>
              <a:effectLst/>
              <a:uLnTx/>
              <a:uFillTx/>
              <a:latin typeface="Ubuntu"/>
              <a:ea typeface="+mn-ea"/>
              <a:cs typeface="+mn-cs"/>
            </a:endParaRPr>
          </a:p>
        </p:txBody>
      </p:sp>
      <p:sp>
        <p:nvSpPr>
          <p:cNvPr id="33" name="TextBox 32">
            <a:extLst>
              <a:ext uri="{FF2B5EF4-FFF2-40B4-BE49-F238E27FC236}">
                <a16:creationId xmlns:a16="http://schemas.microsoft.com/office/drawing/2014/main" id="{FF3BA1EB-E4BB-64C8-8B0C-D2B1772964EA}"/>
              </a:ext>
            </a:extLst>
          </p:cNvPr>
          <p:cNvSpPr txBox="1"/>
          <p:nvPr/>
        </p:nvSpPr>
        <p:spPr>
          <a:xfrm>
            <a:off x="502058" y="2194116"/>
            <a:ext cx="2486516" cy="252845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rgbClr val="242424"/>
                </a:solidFill>
                <a:effectLst/>
                <a:uLnTx/>
                <a:uFillTx/>
                <a:latin typeface="Ubuntu" panose="020B0504030602030204" pitchFamily="34" charset="0"/>
              </a:rPr>
              <a:t>Python 3.8 or above</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rgbClr val="242424"/>
                </a:solidFill>
                <a:effectLst/>
                <a:uLnTx/>
                <a:uFillTx/>
                <a:latin typeface="Ubuntu" panose="020B0504030602030204" pitchFamily="34" charset="0"/>
              </a:rPr>
              <a:t>Panda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err="1">
                <a:ln>
                  <a:noFill/>
                </a:ln>
                <a:solidFill>
                  <a:srgbClr val="242424"/>
                </a:solidFill>
                <a:effectLst/>
                <a:uLnTx/>
                <a:uFillTx/>
                <a:latin typeface="Ubuntu" panose="020B0504030602030204" pitchFamily="34" charset="0"/>
              </a:rPr>
              <a:t>xlrd</a:t>
            </a:r>
            <a:r>
              <a:rPr kumimoji="0" lang="en-IN" sz="1600" b="0" i="0" u="none" strike="noStrike" kern="1200" cap="none" spc="0" normalizeH="0" baseline="0" noProof="0" dirty="0">
                <a:ln>
                  <a:noFill/>
                </a:ln>
                <a:solidFill>
                  <a:srgbClr val="242424"/>
                </a:solidFill>
                <a:effectLst/>
                <a:uLnTx/>
                <a:uFillTx/>
                <a:latin typeface="Ubuntu" panose="020B0504030602030204" pitchFamily="34" charset="0"/>
              </a:rPr>
              <a:t>==1.2.0</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err="1">
                <a:ln>
                  <a:noFill/>
                </a:ln>
                <a:solidFill>
                  <a:srgbClr val="242424"/>
                </a:solidFill>
                <a:effectLst/>
                <a:uLnTx/>
                <a:uFillTx/>
                <a:latin typeface="Ubuntu" panose="020B0504030602030204" pitchFamily="34" charset="0"/>
              </a:rPr>
              <a:t>xlsxwriter</a:t>
            </a:r>
            <a:endParaRPr kumimoji="0" lang="en-IN" sz="1600" b="0" i="0" u="none" strike="noStrike" kern="1200" cap="none" spc="0" normalizeH="0" baseline="0" noProof="0" dirty="0">
              <a:ln>
                <a:noFill/>
              </a:ln>
              <a:solidFill>
                <a:srgbClr val="242424"/>
              </a:solidFill>
              <a:effectLst/>
              <a:uLnTx/>
              <a:uFillTx/>
              <a:latin typeface="Ubuntu" panose="020B0504030602030204" pitchFamily="34" charset="0"/>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rgbClr val="242424"/>
                </a:solidFill>
                <a:effectLst/>
                <a:uLnTx/>
                <a:uFillTx/>
                <a:latin typeface="Ubuntu" panose="020B0504030602030204" pitchFamily="34" charset="0"/>
              </a:rPr>
              <a:t>matplotlib-inline==0.1.3</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err="1">
                <a:ln>
                  <a:noFill/>
                </a:ln>
                <a:solidFill>
                  <a:srgbClr val="242424"/>
                </a:solidFill>
                <a:effectLst/>
                <a:uLnTx/>
                <a:uFillTx/>
                <a:latin typeface="Ubuntu" panose="020B0504030602030204" pitchFamily="34" charset="0"/>
              </a:rPr>
              <a:t>Antlr</a:t>
            </a:r>
            <a:r>
              <a:rPr kumimoji="0" lang="en-IN" sz="1600" b="0" i="0" u="none" strike="noStrike" kern="1200" cap="none" spc="0" normalizeH="0" baseline="0" noProof="0" dirty="0">
                <a:ln>
                  <a:noFill/>
                </a:ln>
                <a:solidFill>
                  <a:srgbClr val="242424"/>
                </a:solidFill>
                <a:effectLst/>
                <a:uLnTx/>
                <a:uFillTx/>
                <a:latin typeface="Ubuntu" panose="020B0504030602030204" pitchFamily="34" charset="0"/>
              </a:rPr>
              <a:t> : antlr4-python3-runtime 4.11.1</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rgbClr val="242424"/>
                </a:solidFill>
                <a:effectLst/>
                <a:uLnTx/>
                <a:uFillTx/>
                <a:latin typeface="Ubuntu" panose="020B0504030602030204" pitchFamily="34" charset="0"/>
              </a:rPr>
              <a:t>Java: JDK 18.0.2</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IN" sz="1600" b="0" i="0" u="none" strike="noStrike" kern="1200" cap="none" spc="0" normalizeH="0" baseline="0" noProof="0" dirty="0">
              <a:ln>
                <a:noFill/>
              </a:ln>
              <a:solidFill>
                <a:prstClr val="black"/>
              </a:solidFill>
              <a:effectLst/>
              <a:uLnTx/>
              <a:uFillTx/>
              <a:latin typeface="Ubuntu" panose="020B0504030602030204" pitchFamily="34" charset="0"/>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IN" sz="1600" b="0" i="0" u="none" strike="noStrike" kern="1200" cap="none" spc="0" normalizeH="0" baseline="0" noProof="0" dirty="0">
              <a:ln>
                <a:noFill/>
              </a:ln>
              <a:solidFill>
                <a:prstClr val="black"/>
              </a:solidFill>
              <a:effectLst/>
              <a:uLnTx/>
              <a:uFillTx/>
              <a:latin typeface="Ubuntu" panose="020B0504030602030204" pitchFamily="34" charset="0"/>
            </a:endParaRPr>
          </a:p>
        </p:txBody>
      </p:sp>
      <p:sp>
        <p:nvSpPr>
          <p:cNvPr id="37" name="TextBox 36">
            <a:extLst>
              <a:ext uri="{FF2B5EF4-FFF2-40B4-BE49-F238E27FC236}">
                <a16:creationId xmlns:a16="http://schemas.microsoft.com/office/drawing/2014/main" id="{3E268220-EB0A-AB3A-5490-F13AF75160FE}"/>
              </a:ext>
            </a:extLst>
          </p:cNvPr>
          <p:cNvSpPr txBox="1"/>
          <p:nvPr/>
        </p:nvSpPr>
        <p:spPr>
          <a:xfrm>
            <a:off x="425218" y="1729852"/>
            <a:ext cx="264019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4472C4"/>
                </a:solidFill>
                <a:effectLst/>
                <a:uLnTx/>
                <a:uFillTx/>
                <a:latin typeface="Ubuntu"/>
                <a:ea typeface="+mn-ea"/>
                <a:cs typeface="+mn-cs"/>
              </a:rPr>
              <a:t>SAS ANALYZER</a:t>
            </a:r>
          </a:p>
        </p:txBody>
      </p:sp>
      <p:grpSp>
        <p:nvGrpSpPr>
          <p:cNvPr id="40" name="Group 39">
            <a:extLst>
              <a:ext uri="{FF2B5EF4-FFF2-40B4-BE49-F238E27FC236}">
                <a16:creationId xmlns:a16="http://schemas.microsoft.com/office/drawing/2014/main" id="{A8058195-EEBA-0A77-D32B-C57FDDB572F9}"/>
              </a:ext>
            </a:extLst>
          </p:cNvPr>
          <p:cNvGrpSpPr/>
          <p:nvPr/>
        </p:nvGrpSpPr>
        <p:grpSpPr>
          <a:xfrm>
            <a:off x="3991263" y="1608646"/>
            <a:ext cx="2640196" cy="3640704"/>
            <a:chOff x="7299954" y="1263144"/>
            <a:chExt cx="3148791" cy="4639024"/>
          </a:xfrm>
        </p:grpSpPr>
        <p:sp>
          <p:nvSpPr>
            <p:cNvPr id="30" name="Rectangle: Rounded Corners 29">
              <a:extLst>
                <a:ext uri="{FF2B5EF4-FFF2-40B4-BE49-F238E27FC236}">
                  <a16:creationId xmlns:a16="http://schemas.microsoft.com/office/drawing/2014/main" id="{4AA373C9-D898-A866-8FB6-51AB3D7BA87A}"/>
                </a:ext>
              </a:extLst>
            </p:cNvPr>
            <p:cNvSpPr/>
            <p:nvPr/>
          </p:nvSpPr>
          <p:spPr>
            <a:xfrm>
              <a:off x="7299954" y="1263144"/>
              <a:ext cx="3148791" cy="4639024"/>
            </a:xfrm>
            <a:prstGeom prst="roundRect">
              <a:avLst>
                <a:gd name="adj" fmla="val 6846"/>
              </a:avLst>
            </a:prstGeom>
            <a:solidFill>
              <a:srgbClr val="D5E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err="1">
                <a:ln>
                  <a:noFill/>
                </a:ln>
                <a:solidFill>
                  <a:prstClr val="white"/>
                </a:solidFill>
                <a:effectLst/>
                <a:uLnTx/>
                <a:uFillTx/>
                <a:latin typeface="Ubuntu"/>
                <a:ea typeface="+mn-ea"/>
                <a:cs typeface="+mn-cs"/>
              </a:endParaRPr>
            </a:p>
          </p:txBody>
        </p:sp>
        <p:sp>
          <p:nvSpPr>
            <p:cNvPr id="34" name="TextBox 33">
              <a:extLst>
                <a:ext uri="{FF2B5EF4-FFF2-40B4-BE49-F238E27FC236}">
                  <a16:creationId xmlns:a16="http://schemas.microsoft.com/office/drawing/2014/main" id="{7DA50C5E-32E5-9261-7213-1C8521B52D8C}"/>
                </a:ext>
              </a:extLst>
            </p:cNvPr>
            <p:cNvSpPr txBox="1"/>
            <p:nvPr/>
          </p:nvSpPr>
          <p:spPr>
            <a:xfrm>
              <a:off x="7647526" y="2436420"/>
              <a:ext cx="2453646" cy="2200602"/>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err="1">
                  <a:ln>
                    <a:noFill/>
                  </a:ln>
                  <a:solidFill>
                    <a:srgbClr val="242424"/>
                  </a:solidFill>
                  <a:effectLst/>
                  <a:uLnTx/>
                  <a:uFillTx/>
                  <a:latin typeface="Ubuntu"/>
                  <a:ea typeface="+mn-ea"/>
                  <a:cs typeface="+mn-cs"/>
                </a:rPr>
                <a:t>django</a:t>
              </a:r>
              <a:r>
                <a:rPr kumimoji="0" lang="en-IN" sz="1600" b="0" i="0" u="none" strike="noStrike" kern="1200" cap="none" spc="0" normalizeH="0" baseline="0" noProof="0" dirty="0">
                  <a:ln>
                    <a:noFill/>
                  </a:ln>
                  <a:solidFill>
                    <a:srgbClr val="242424"/>
                  </a:solidFill>
                  <a:effectLst/>
                  <a:uLnTx/>
                  <a:uFillTx/>
                  <a:latin typeface="Ubuntu"/>
                  <a:ea typeface="+mn-ea"/>
                  <a:cs typeface="+mn-cs"/>
                </a:rPr>
                <a:t>==3.2.8</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err="1">
                  <a:ln>
                    <a:noFill/>
                  </a:ln>
                  <a:solidFill>
                    <a:srgbClr val="242424"/>
                  </a:solidFill>
                  <a:effectLst/>
                  <a:uLnTx/>
                  <a:uFillTx/>
                  <a:latin typeface="Ubuntu"/>
                  <a:ea typeface="+mn-ea"/>
                  <a:cs typeface="+mn-cs"/>
                </a:rPr>
                <a:t>openai</a:t>
              </a:r>
              <a:r>
                <a:rPr kumimoji="0" lang="en-IN" sz="1600" b="0" i="0" u="none" strike="noStrike" kern="1200" cap="none" spc="0" normalizeH="0" baseline="0" noProof="0" dirty="0">
                  <a:ln>
                    <a:noFill/>
                  </a:ln>
                  <a:solidFill>
                    <a:srgbClr val="242424"/>
                  </a:solidFill>
                  <a:effectLst/>
                  <a:uLnTx/>
                  <a:uFillTx/>
                  <a:latin typeface="Ubuntu"/>
                  <a:ea typeface="+mn-ea"/>
                  <a:cs typeface="+mn-cs"/>
                </a:rPr>
                <a:t>==0.8.0</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rgbClr val="242424"/>
                  </a:solidFill>
                  <a:effectLst/>
                  <a:uLnTx/>
                  <a:uFillTx/>
                  <a:latin typeface="Ubuntu"/>
                  <a:ea typeface="+mn-ea"/>
                  <a:cs typeface="+mn-cs"/>
                </a:rPr>
                <a:t>panda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err="1">
                  <a:ln>
                    <a:noFill/>
                  </a:ln>
                  <a:solidFill>
                    <a:srgbClr val="242424"/>
                  </a:solidFill>
                  <a:effectLst/>
                  <a:uLnTx/>
                  <a:uFillTx/>
                  <a:latin typeface="Ubuntu"/>
                  <a:ea typeface="+mn-ea"/>
                  <a:cs typeface="+mn-cs"/>
                </a:rPr>
                <a:t>openpyxl</a:t>
              </a:r>
              <a:endParaRPr kumimoji="0" lang="en-IN" sz="1600" b="0" i="0" u="none" strike="noStrike" kern="1200" cap="none" spc="0" normalizeH="0" baseline="0" noProof="0" dirty="0">
                <a:ln>
                  <a:noFill/>
                </a:ln>
                <a:solidFill>
                  <a:srgbClr val="242424"/>
                </a:solidFill>
                <a:effectLst/>
                <a:uLnTx/>
                <a:uFillTx/>
                <a:latin typeface="Ubuntu"/>
                <a:ea typeface="+mn-ea"/>
                <a:cs typeface="+mn-cs"/>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err="1">
                  <a:ln>
                    <a:noFill/>
                  </a:ln>
                  <a:solidFill>
                    <a:srgbClr val="242424"/>
                  </a:solidFill>
                  <a:effectLst/>
                  <a:uLnTx/>
                  <a:uFillTx/>
                  <a:latin typeface="Ubuntu"/>
                  <a:ea typeface="+mn-ea"/>
                  <a:cs typeface="+mn-cs"/>
                </a:rPr>
                <a:t>reportlab</a:t>
              </a:r>
              <a:endParaRPr kumimoji="0" lang="en-IN" sz="1600" b="0" i="0" u="none" strike="noStrike" kern="1200" cap="none" spc="0" normalizeH="0" baseline="0" noProof="0" dirty="0">
                <a:ln>
                  <a:noFill/>
                </a:ln>
                <a:solidFill>
                  <a:srgbClr val="242424"/>
                </a:solidFill>
                <a:effectLst/>
                <a:uLnTx/>
                <a:uFillTx/>
                <a:latin typeface="Ubuntu"/>
                <a:ea typeface="+mn-ea"/>
                <a:cs typeface="+mn-cs"/>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err="1">
                  <a:ln>
                    <a:noFill/>
                  </a:ln>
                  <a:solidFill>
                    <a:srgbClr val="242424"/>
                  </a:solidFill>
                  <a:effectLst/>
                  <a:uLnTx/>
                  <a:uFillTx/>
                  <a:latin typeface="Ubuntu"/>
                  <a:ea typeface="+mn-ea"/>
                  <a:cs typeface="+mn-cs"/>
                </a:rPr>
                <a:t>boltons</a:t>
              </a:r>
              <a:endParaRPr kumimoji="0" lang="en-IN" sz="1600" b="0" i="0" u="none" strike="noStrike" kern="1200" cap="none" spc="0" normalizeH="0" baseline="0" noProof="0" dirty="0">
                <a:ln>
                  <a:noFill/>
                </a:ln>
                <a:solidFill>
                  <a:prstClr val="black"/>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black"/>
                </a:solidFill>
                <a:effectLst/>
                <a:uLnTx/>
                <a:uFillTx/>
                <a:latin typeface="Ubuntu"/>
                <a:ea typeface="+mn-ea"/>
                <a:cs typeface="+mn-cs"/>
              </a:endParaRPr>
            </a:p>
          </p:txBody>
        </p:sp>
        <p:sp>
          <p:nvSpPr>
            <p:cNvPr id="38" name="TextBox 37">
              <a:extLst>
                <a:ext uri="{FF2B5EF4-FFF2-40B4-BE49-F238E27FC236}">
                  <a16:creationId xmlns:a16="http://schemas.microsoft.com/office/drawing/2014/main" id="{3744D992-D98B-404D-BA21-B8448E1DA8E0}"/>
                </a:ext>
              </a:extLst>
            </p:cNvPr>
            <p:cNvSpPr txBox="1"/>
            <p:nvPr/>
          </p:nvSpPr>
          <p:spPr>
            <a:xfrm>
              <a:off x="7562323" y="1432384"/>
              <a:ext cx="262405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rgbClr val="4472C4"/>
                  </a:solidFill>
                  <a:effectLst/>
                  <a:uLnTx/>
                  <a:uFillTx/>
                  <a:latin typeface="Ubuntu"/>
                  <a:ea typeface="+mn-ea"/>
                  <a:cs typeface="+mn-cs"/>
                </a:rPr>
                <a:t>A2B CONVERTER or  3</a:t>
              </a:r>
              <a:r>
                <a:rPr kumimoji="0" lang="en-IN" sz="1800" b="1" i="0" u="none" strike="noStrike" kern="1200" cap="none" spc="0" normalizeH="0" baseline="30000" noProof="0" dirty="0">
                  <a:ln>
                    <a:noFill/>
                  </a:ln>
                  <a:solidFill>
                    <a:srgbClr val="4472C4"/>
                  </a:solidFill>
                  <a:effectLst/>
                  <a:uLnTx/>
                  <a:uFillTx/>
                  <a:latin typeface="Ubuntu"/>
                  <a:ea typeface="+mn-ea"/>
                  <a:cs typeface="+mn-cs"/>
                </a:rPr>
                <a:t>rd</a:t>
              </a:r>
              <a:r>
                <a:rPr kumimoji="0" lang="en-IN" sz="1800" b="1" i="0" u="none" strike="noStrike" kern="1200" cap="none" spc="0" normalizeH="0" baseline="0" noProof="0" dirty="0">
                  <a:ln>
                    <a:noFill/>
                  </a:ln>
                  <a:solidFill>
                    <a:srgbClr val="4472C4"/>
                  </a:solidFill>
                  <a:effectLst/>
                  <a:uLnTx/>
                  <a:uFillTx/>
                  <a:latin typeface="Ubuntu"/>
                  <a:ea typeface="+mn-ea"/>
                  <a:cs typeface="+mn-cs"/>
                </a:rPr>
                <a:t> Party</a:t>
              </a:r>
            </a:p>
          </p:txBody>
        </p:sp>
      </p:grpSp>
      <p:pic>
        <p:nvPicPr>
          <p:cNvPr id="42" name="Picture 41">
            <a:extLst>
              <a:ext uri="{FF2B5EF4-FFF2-40B4-BE49-F238E27FC236}">
                <a16:creationId xmlns:a16="http://schemas.microsoft.com/office/drawing/2014/main" id="{BAB42309-C48F-A6D4-52A2-0872C3720D72}"/>
              </a:ext>
            </a:extLst>
          </p:cNvPr>
          <p:cNvPicPr>
            <a:picLocks noChangeAspect="1"/>
          </p:cNvPicPr>
          <p:nvPr/>
        </p:nvPicPr>
        <p:blipFill>
          <a:blip r:embed="rId2"/>
          <a:stretch>
            <a:fillRect/>
          </a:stretch>
        </p:blipFill>
        <p:spPr>
          <a:xfrm>
            <a:off x="8271481" y="2248705"/>
            <a:ext cx="3141312" cy="2511249"/>
          </a:xfrm>
          <a:prstGeom prst="rect">
            <a:avLst/>
          </a:prstGeom>
        </p:spPr>
      </p:pic>
      <p:sp>
        <p:nvSpPr>
          <p:cNvPr id="43" name="Title 1">
            <a:extLst>
              <a:ext uri="{FF2B5EF4-FFF2-40B4-BE49-F238E27FC236}">
                <a16:creationId xmlns:a16="http://schemas.microsoft.com/office/drawing/2014/main" id="{05D8F3C2-1F91-2738-FD46-381A4D0E692B}"/>
              </a:ext>
            </a:extLst>
          </p:cNvPr>
          <p:cNvSpPr txBox="1">
            <a:spLocks/>
          </p:cNvSpPr>
          <p:nvPr/>
        </p:nvSpPr>
        <p:spPr>
          <a:xfrm>
            <a:off x="7423508" y="754426"/>
            <a:ext cx="4458888" cy="492807"/>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IN" b="1" dirty="0">
                <a:solidFill>
                  <a:schemeClr val="bg1"/>
                </a:solidFill>
                <a:latin typeface="Ubuntu" panose="020B0504030602030204" pitchFamily="34" charset="0"/>
              </a:rPr>
              <a:t>LLM MODEL USED</a:t>
            </a:r>
            <a:endParaRPr lang="en-IN" b="1" dirty="0">
              <a:solidFill>
                <a:schemeClr val="bg1"/>
              </a:solidFill>
            </a:endParaRPr>
          </a:p>
        </p:txBody>
      </p:sp>
    </p:spTree>
    <p:extLst>
      <p:ext uri="{BB962C8B-B14F-4D97-AF65-F5344CB8AC3E}">
        <p14:creationId xmlns:p14="http://schemas.microsoft.com/office/powerpoint/2010/main" val="15106632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272936"/>
        </a:solidFill>
        <a:effectLst/>
      </p:bgPr>
    </p:bg>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9E9C482D-B1CA-250D-0B54-DF1FEC50B981}"/>
              </a:ext>
            </a:extLst>
          </p:cNvPr>
          <p:cNvSpPr txBox="1">
            <a:spLocks/>
          </p:cNvSpPr>
          <p:nvPr/>
        </p:nvSpPr>
        <p:spPr>
          <a:xfrm>
            <a:off x="299094" y="176921"/>
            <a:ext cx="10562775" cy="492807"/>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US" b="1" dirty="0">
                <a:solidFill>
                  <a:schemeClr val="bg1"/>
                </a:solidFill>
                <a:latin typeface="Ubuntu" panose="020B0504030602030204" pitchFamily="34" charset="0"/>
              </a:rPr>
              <a:t>Use case(s) &amp; USP (uniqueness)</a:t>
            </a:r>
            <a:endParaRPr lang="en-IN" b="1" dirty="0">
              <a:solidFill>
                <a:schemeClr val="bg1"/>
              </a:solidFill>
            </a:endParaRPr>
          </a:p>
        </p:txBody>
      </p:sp>
      <p:sp>
        <p:nvSpPr>
          <p:cNvPr id="8" name="TextBox 7">
            <a:extLst>
              <a:ext uri="{FF2B5EF4-FFF2-40B4-BE49-F238E27FC236}">
                <a16:creationId xmlns:a16="http://schemas.microsoft.com/office/drawing/2014/main" id="{0BB2360E-77DB-9151-2020-BDD0AFCEF593}"/>
              </a:ext>
            </a:extLst>
          </p:cNvPr>
          <p:cNvSpPr txBox="1"/>
          <p:nvPr/>
        </p:nvSpPr>
        <p:spPr>
          <a:xfrm>
            <a:off x="299094" y="1250731"/>
            <a:ext cx="6894785" cy="4401205"/>
          </a:xfrm>
          <a:prstGeom prst="rect">
            <a:avLst/>
          </a:prstGeom>
          <a:noFill/>
        </p:spPr>
        <p:txBody>
          <a:bodyPr wrap="square" rtlCol="0">
            <a:spAutoFit/>
          </a:bodyPr>
          <a:lstStyle/>
          <a:p>
            <a:pPr marL="342900" indent="-342900">
              <a:buFont typeface="Wingdings" panose="05000000000000000000" pitchFamily="2" charset="2"/>
              <a:buChar char="q"/>
            </a:pPr>
            <a:r>
              <a:rPr lang="en-IN" sz="2000" i="0" dirty="0">
                <a:solidFill>
                  <a:schemeClr val="bg1"/>
                </a:solidFill>
                <a:effectLst/>
                <a:latin typeface="Ubuntu" panose="020B0504030602030204" pitchFamily="34" charset="0"/>
              </a:rPr>
              <a:t>Grupo Nacional Provincial SAB (GNP) is a Mexico-based company, which is principally engaged in the insurance sector.</a:t>
            </a:r>
          </a:p>
          <a:p>
            <a:endParaRPr lang="en-IN" sz="2000" i="0" dirty="0">
              <a:solidFill>
                <a:schemeClr val="bg1"/>
              </a:solidFill>
              <a:effectLst/>
              <a:latin typeface="Ubuntu" panose="020B0504030602030204" pitchFamily="34" charset="0"/>
            </a:endParaRPr>
          </a:p>
          <a:p>
            <a:pPr marL="342900" indent="-342900">
              <a:buFont typeface="Wingdings" panose="05000000000000000000" pitchFamily="2" charset="2"/>
              <a:buChar char="q"/>
            </a:pPr>
            <a:r>
              <a:rPr lang="en-IN" sz="2000" i="0" dirty="0">
                <a:solidFill>
                  <a:schemeClr val="bg1"/>
                </a:solidFill>
                <a:effectLst/>
                <a:latin typeface="Ubuntu" panose="020B0504030602030204" pitchFamily="34" charset="0"/>
              </a:rPr>
              <a:t>The range of the Company’s products and services includes insurance policies as </a:t>
            </a:r>
          </a:p>
          <a:p>
            <a:pPr marL="342900" indent="-342900">
              <a:buFont typeface="Arial" panose="020B0604020202020204" pitchFamily="34" charset="0"/>
              <a:buChar char="•"/>
            </a:pPr>
            <a:r>
              <a:rPr lang="en-IN" sz="2000" dirty="0">
                <a:solidFill>
                  <a:schemeClr val="bg1"/>
                </a:solidFill>
                <a:latin typeface="Ubuntu" panose="020B0504030602030204" pitchFamily="34" charset="0"/>
              </a:rPr>
              <a:t>D</a:t>
            </a:r>
            <a:r>
              <a:rPr lang="en-IN" sz="2000" i="0" dirty="0">
                <a:solidFill>
                  <a:schemeClr val="bg1"/>
                </a:solidFill>
                <a:effectLst/>
                <a:latin typeface="Ubuntu" panose="020B0504030602030204" pitchFamily="34" charset="0"/>
              </a:rPr>
              <a:t>irect life</a:t>
            </a:r>
          </a:p>
          <a:p>
            <a:pPr marL="342900" indent="-342900">
              <a:buFont typeface="Arial" panose="020B0604020202020204" pitchFamily="34" charset="0"/>
              <a:buChar char="•"/>
            </a:pPr>
            <a:r>
              <a:rPr lang="en-IN" sz="2000" dirty="0">
                <a:solidFill>
                  <a:schemeClr val="bg1"/>
                </a:solidFill>
                <a:latin typeface="Ubuntu" panose="020B0504030602030204" pitchFamily="34" charset="0"/>
              </a:rPr>
              <a:t>P</a:t>
            </a:r>
            <a:r>
              <a:rPr lang="en-IN" sz="2000" i="0" dirty="0">
                <a:solidFill>
                  <a:schemeClr val="bg1"/>
                </a:solidFill>
                <a:effectLst/>
                <a:latin typeface="Ubuntu" panose="020B0504030602030204" pitchFamily="34" charset="0"/>
              </a:rPr>
              <a:t>roperty and casualty </a:t>
            </a:r>
          </a:p>
          <a:p>
            <a:pPr marL="342900" indent="-342900">
              <a:buFont typeface="Arial" panose="020B0604020202020204" pitchFamily="34" charset="0"/>
              <a:buChar char="•"/>
            </a:pPr>
            <a:r>
              <a:rPr lang="en-IN" sz="2000" dirty="0">
                <a:solidFill>
                  <a:schemeClr val="bg1"/>
                </a:solidFill>
                <a:latin typeface="Ubuntu" panose="020B0504030602030204" pitchFamily="34" charset="0"/>
              </a:rPr>
              <a:t>H</a:t>
            </a:r>
            <a:r>
              <a:rPr lang="en-IN" sz="2000" i="0" dirty="0">
                <a:solidFill>
                  <a:schemeClr val="bg1"/>
                </a:solidFill>
                <a:effectLst/>
                <a:latin typeface="Ubuntu" panose="020B0504030602030204" pitchFamily="34" charset="0"/>
              </a:rPr>
              <a:t>ealth, third party liability </a:t>
            </a:r>
          </a:p>
          <a:p>
            <a:pPr marL="342900" indent="-342900">
              <a:buFont typeface="Arial" panose="020B0604020202020204" pitchFamily="34" charset="0"/>
              <a:buChar char="•"/>
            </a:pPr>
            <a:r>
              <a:rPr lang="en-IN" sz="2000" dirty="0">
                <a:solidFill>
                  <a:schemeClr val="bg1"/>
                </a:solidFill>
                <a:latin typeface="Ubuntu" panose="020B0504030602030204" pitchFamily="34" charset="0"/>
              </a:rPr>
              <a:t>F</a:t>
            </a:r>
            <a:r>
              <a:rPr lang="en-IN" sz="2000" i="0" dirty="0">
                <a:solidFill>
                  <a:schemeClr val="bg1"/>
                </a:solidFill>
                <a:effectLst/>
                <a:latin typeface="Ubuntu" panose="020B0504030602030204" pitchFamily="34" charset="0"/>
              </a:rPr>
              <a:t>ire, earthquake and catastrophe </a:t>
            </a:r>
          </a:p>
          <a:p>
            <a:pPr marL="342900" indent="-342900">
              <a:buFont typeface="Arial" panose="020B0604020202020204" pitchFamily="34" charset="0"/>
              <a:buChar char="•"/>
            </a:pPr>
            <a:r>
              <a:rPr lang="en-IN" sz="2000" dirty="0">
                <a:solidFill>
                  <a:schemeClr val="bg1"/>
                </a:solidFill>
                <a:latin typeface="Ubuntu" panose="020B0504030602030204" pitchFamily="34" charset="0"/>
              </a:rPr>
              <a:t>A</a:t>
            </a:r>
            <a:r>
              <a:rPr lang="en-IN" sz="2000" i="0" dirty="0">
                <a:solidFill>
                  <a:schemeClr val="bg1"/>
                </a:solidFill>
                <a:effectLst/>
                <a:latin typeface="Ubuntu" panose="020B0504030602030204" pitchFamily="34" charset="0"/>
              </a:rPr>
              <a:t>gricultural and automotive, etc. </a:t>
            </a:r>
          </a:p>
          <a:p>
            <a:pPr marL="342900" indent="-342900">
              <a:buFont typeface="Arial" panose="020B0604020202020204" pitchFamily="34" charset="0"/>
              <a:buChar char="•"/>
            </a:pPr>
            <a:endParaRPr lang="en-IN" sz="2000" dirty="0">
              <a:solidFill>
                <a:schemeClr val="bg1"/>
              </a:solidFill>
              <a:latin typeface="Ubuntu" panose="020B0504030602030204" pitchFamily="34" charset="0"/>
            </a:endParaRPr>
          </a:p>
          <a:p>
            <a:pPr marL="342900" indent="-342900">
              <a:buFont typeface="Wingdings" panose="05000000000000000000" pitchFamily="2" charset="2"/>
              <a:buChar char="q"/>
            </a:pPr>
            <a:r>
              <a:rPr lang="en-IN" sz="2000" i="0" dirty="0">
                <a:solidFill>
                  <a:schemeClr val="bg1"/>
                </a:solidFill>
                <a:effectLst/>
                <a:latin typeface="Ubuntu" panose="020B0504030602030204" pitchFamily="34" charset="0"/>
              </a:rPr>
              <a:t>In addition, the Company is active in the provision of reinsurance services.</a:t>
            </a:r>
            <a:endParaRPr lang="en-IN" sz="2400" dirty="0">
              <a:solidFill>
                <a:schemeClr val="bg1"/>
              </a:solidFill>
              <a:latin typeface="Ubuntu" panose="020B0504030602030204" pitchFamily="34" charset="0"/>
            </a:endParaRPr>
          </a:p>
        </p:txBody>
      </p:sp>
      <p:pic>
        <p:nvPicPr>
          <p:cNvPr id="10" name="Picture 9">
            <a:extLst>
              <a:ext uri="{FF2B5EF4-FFF2-40B4-BE49-F238E27FC236}">
                <a16:creationId xmlns:a16="http://schemas.microsoft.com/office/drawing/2014/main" id="{CC627884-A469-333C-101A-3F25679802C9}"/>
              </a:ext>
            </a:extLst>
          </p:cNvPr>
          <p:cNvPicPr>
            <a:picLocks noChangeAspect="1"/>
          </p:cNvPicPr>
          <p:nvPr/>
        </p:nvPicPr>
        <p:blipFill>
          <a:blip r:embed="rId2"/>
          <a:stretch>
            <a:fillRect/>
          </a:stretch>
        </p:blipFill>
        <p:spPr>
          <a:xfrm>
            <a:off x="7425107" y="1048130"/>
            <a:ext cx="4052190" cy="4087632"/>
          </a:xfrm>
          <a:prstGeom prst="rect">
            <a:avLst/>
          </a:prstGeom>
        </p:spPr>
      </p:pic>
    </p:spTree>
    <p:extLst>
      <p:ext uri="{BB962C8B-B14F-4D97-AF65-F5344CB8AC3E}">
        <p14:creationId xmlns:p14="http://schemas.microsoft.com/office/powerpoint/2010/main" val="40948926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3.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204</TotalTime>
  <Words>684</Words>
  <Application>Microsoft Office PowerPoint</Application>
  <PresentationFormat>Widescreen</PresentationFormat>
  <Paragraphs>155</Paragraphs>
  <Slides>11</Slides>
  <Notes>1</Notes>
  <HiddenSlides>1</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2" baseType="lpstr">
      <vt:lpstr>Arial</vt:lpstr>
      <vt:lpstr>Calibri</vt:lpstr>
      <vt:lpstr>Calibri Light</vt:lpstr>
      <vt:lpstr>Ubuntu</vt:lpstr>
      <vt:lpstr>Ubuntu Light</vt:lpstr>
      <vt:lpstr>Ubuntu Medium</vt:lpstr>
      <vt:lpstr>Wingdings</vt:lpstr>
      <vt:lpstr>Office Theme</vt:lpstr>
      <vt:lpstr>Capgemini Master 2021</vt:lpstr>
      <vt:lpstr>1_Capgemini Master 2021</vt:lpstr>
      <vt:lpstr>think-cell Slide</vt:lpstr>
      <vt:lpstr>INS EXP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 EXPO</dc:title>
  <dc:creator>Satish, Nitin</dc:creator>
  <cp:lastModifiedBy>Satish, Nitin</cp:lastModifiedBy>
  <cp:revision>1</cp:revision>
  <dcterms:created xsi:type="dcterms:W3CDTF">2023-08-17T05:33:25Z</dcterms:created>
  <dcterms:modified xsi:type="dcterms:W3CDTF">2023-08-30T14:28:15Z</dcterms:modified>
</cp:coreProperties>
</file>